
<file path=[Content_Types].xml><?xml version="1.0" encoding="utf-8"?>
<Types xmlns="http://schemas.openxmlformats.org/package/2006/content-types">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6.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1"/>
    <p:sldMasterId id="2147483653" r:id="rId2"/>
    <p:sldMasterId id="2147483659" r:id="rId3"/>
    <p:sldMasterId id="2147483668" r:id="rId4"/>
    <p:sldMasterId id="2147483674" r:id="rId5"/>
    <p:sldMasterId id="2147483682" r:id="rId6"/>
    <p:sldMasterId id="2147483689" r:id="rId7"/>
    <p:sldMasterId id="2147483696" r:id="rId8"/>
  </p:sldMasterIdLst>
  <p:notesMasterIdLst>
    <p:notesMasterId r:id="rId17"/>
  </p:notesMasterIdLst>
  <p:sldIdLst>
    <p:sldId id="4643" r:id="rId9"/>
    <p:sldId id="4637" r:id="rId10"/>
    <p:sldId id="4590" r:id="rId11"/>
    <p:sldId id="4627" r:id="rId12"/>
    <p:sldId id="4644" r:id="rId13"/>
    <p:sldId id="4630" r:id="rId14"/>
    <p:sldId id="4641" r:id="rId15"/>
    <p:sldId id="464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itika Arora" initials="PA" lastIdx="21" clrIdx="0">
    <p:extLst>
      <p:ext uri="{19B8F6BF-5375-455C-9EA6-DF929625EA0E}">
        <p15:presenceInfo xmlns:p15="http://schemas.microsoft.com/office/powerpoint/2012/main" userId="S::priarora6@publicisgroupe.net::2b212479-cf91-4609-8a33-40c3b364dc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FAFD"/>
    <a:srgbClr val="111111"/>
    <a:srgbClr val="A496DE"/>
    <a:srgbClr val="98F056"/>
    <a:srgbClr val="7AEC24"/>
    <a:srgbClr val="A6A20C"/>
    <a:srgbClr val="1FF1BA"/>
    <a:srgbClr val="9787D9"/>
    <a:srgbClr val="806DD1"/>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1423" autoAdjust="0"/>
  </p:normalViewPr>
  <p:slideViewPr>
    <p:cSldViewPr snapToGrid="0" snapToObjects="1">
      <p:cViewPr varScale="1">
        <p:scale>
          <a:sx n="84" d="100"/>
          <a:sy n="84" d="100"/>
        </p:scale>
        <p:origin x="906" y="75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5" Type="http://schemas.openxmlformats.org/officeDocument/2006/relationships/slideMaster" Target="slideMasters/slideMaster5.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0" normalizeH="0" baseline="0">
                <a:solidFill>
                  <a:schemeClr val="dk1">
                    <a:lumMod val="50000"/>
                    <a:lumOff val="50000"/>
                  </a:schemeClr>
                </a:solidFill>
                <a:latin typeface="+mj-lt"/>
                <a:ea typeface="+mj-ea"/>
                <a:cs typeface="+mj-cs"/>
              </a:defRPr>
            </a:pPr>
            <a:r>
              <a:rPr lang="en-US" dirty="0"/>
              <a:t>Blockchain market 40 (in USD Bn), 2025 </a:t>
            </a:r>
          </a:p>
        </c:rich>
      </c:tx>
      <c:overlay val="0"/>
      <c:spPr>
        <a:noFill/>
        <a:ln>
          <a:noFill/>
        </a:ln>
        <a:effectLst/>
      </c:spPr>
      <c:txPr>
        <a:bodyPr rot="0" spcFirstLastPara="1" vertOverflow="ellipsis" vert="horz" wrap="square" anchor="ctr" anchorCtr="1"/>
        <a:lstStyle/>
        <a:p>
          <a:pPr>
            <a:defRPr sz="2128" b="1" i="0" u="none" strike="noStrike" kern="1200" spc="0" normalizeH="0" baseline="0">
              <a:solidFill>
                <a:schemeClr val="dk1">
                  <a:lumMod val="50000"/>
                  <a:lumOff val="50000"/>
                </a:schemeClr>
              </a:solidFill>
              <a:latin typeface="+mj-lt"/>
              <a:ea typeface="+mj-ea"/>
              <a:cs typeface="+mj-cs"/>
            </a:defRPr>
          </a:pPr>
          <a:endParaRPr lang="en-US"/>
        </a:p>
      </c:txPr>
    </c:title>
    <c:autoTitleDeleted val="0"/>
    <c:plotArea>
      <c:layout/>
      <c:pieChart>
        <c:varyColors val="1"/>
        <c:ser>
          <c:idx val="0"/>
          <c:order val="0"/>
          <c:tx>
            <c:strRef>
              <c:f>Sheet1!$B$1</c:f>
              <c:strCache>
                <c:ptCount val="1"/>
                <c:pt idx="0">
                  <c:v>Sales</c:v>
                </c:pt>
              </c:strCache>
            </c:strRef>
          </c:tx>
          <c:dPt>
            <c:idx val="0"/>
            <c:bubble3D val="0"/>
            <c:spPr>
              <a:gradFill>
                <a:gsLst>
                  <a:gs pos="100000">
                    <a:schemeClr val="accent1">
                      <a:lumMod val="60000"/>
                      <a:lumOff val="40000"/>
                    </a:schemeClr>
                  </a:gs>
                  <a:gs pos="0">
                    <a:schemeClr val="accent1"/>
                  </a:gs>
                </a:gsLst>
                <a:lin ang="5400000" scaled="0"/>
              </a:gradFill>
              <a:ln w="19050">
                <a:solidFill>
                  <a:schemeClr val="lt1"/>
                </a:solidFill>
              </a:ln>
              <a:effectLst/>
            </c:spPr>
            <c:extLst>
              <c:ext xmlns:c16="http://schemas.microsoft.com/office/drawing/2014/chart" uri="{C3380CC4-5D6E-409C-BE32-E72D297353CC}">
                <c16:uniqueId val="{00000001-F383-4D7A-A397-1C6DBFFFC7BE}"/>
              </c:ext>
            </c:extLst>
          </c:dPt>
          <c:dPt>
            <c:idx val="1"/>
            <c:bubble3D val="0"/>
            <c:spPr>
              <a:gradFill>
                <a:gsLst>
                  <a:gs pos="100000">
                    <a:schemeClr val="accent2">
                      <a:lumMod val="60000"/>
                      <a:lumOff val="40000"/>
                    </a:schemeClr>
                  </a:gs>
                  <a:gs pos="0">
                    <a:schemeClr val="accent2"/>
                  </a:gs>
                </a:gsLst>
                <a:lin ang="5400000" scaled="0"/>
              </a:gradFill>
              <a:ln w="19050">
                <a:solidFill>
                  <a:schemeClr val="lt1"/>
                </a:solidFill>
              </a:ln>
              <a:effectLst/>
            </c:spPr>
            <c:extLst>
              <c:ext xmlns:c16="http://schemas.microsoft.com/office/drawing/2014/chart" uri="{C3380CC4-5D6E-409C-BE32-E72D297353CC}">
                <c16:uniqueId val="{00000003-F383-4D7A-A397-1C6DBFFFC7BE}"/>
              </c:ext>
            </c:extLst>
          </c:dPt>
          <c:dPt>
            <c:idx val="2"/>
            <c:bubble3D val="0"/>
            <c:spPr>
              <a:gradFill>
                <a:gsLst>
                  <a:gs pos="100000">
                    <a:schemeClr val="accent3">
                      <a:lumMod val="60000"/>
                      <a:lumOff val="40000"/>
                    </a:schemeClr>
                  </a:gs>
                  <a:gs pos="0">
                    <a:schemeClr val="accent3"/>
                  </a:gs>
                </a:gsLst>
                <a:lin ang="5400000" scaled="0"/>
              </a:gradFill>
              <a:ln w="19050">
                <a:solidFill>
                  <a:schemeClr val="lt1"/>
                </a:solidFill>
              </a:ln>
              <a:effectLst/>
            </c:spPr>
            <c:extLst>
              <c:ext xmlns:c16="http://schemas.microsoft.com/office/drawing/2014/chart" uri="{C3380CC4-5D6E-409C-BE32-E72D297353CC}">
                <c16:uniqueId val="{00000005-F383-4D7A-A397-1C6DBFFFC7BE}"/>
              </c:ext>
            </c:extLst>
          </c:dPt>
          <c:dLbls>
            <c:dLbl>
              <c:idx val="0"/>
              <c:tx>
                <c:rich>
                  <a:bodyPr/>
                  <a:lstStyle/>
                  <a:p>
                    <a:r>
                      <a:rPr lang="en-US" dirty="0"/>
                      <a:t>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383-4D7A-A397-1C6DBFFFC7BE}"/>
                </c:ext>
              </c:extLst>
            </c:dLbl>
            <c:dLbl>
              <c:idx val="4"/>
              <c:delete val="1"/>
              <c:extLst>
                <c:ext xmlns:c15="http://schemas.microsoft.com/office/drawing/2012/chart" uri="{CE6537A1-D6FC-4f65-9D91-7224C49458BB}"/>
                <c:ext xmlns:c16="http://schemas.microsoft.com/office/drawing/2014/chart" uri="{C3380CC4-5D6E-409C-BE32-E72D297353CC}">
                  <c16:uniqueId val="{00000006-F383-4D7A-A397-1C6DBFFFC7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Public Blockchain</c:v>
                </c:pt>
                <c:pt idx="1">
                  <c:v>Private Blockchain</c:v>
                </c:pt>
                <c:pt idx="2">
                  <c:v>hybride Blockchain</c:v>
                </c:pt>
              </c:strCache>
            </c:strRef>
          </c:cat>
          <c:val>
            <c:numRef>
              <c:f>Sheet1!$B$2:$B$4</c:f>
              <c:numCache>
                <c:formatCode>General</c:formatCode>
                <c:ptCount val="3"/>
                <c:pt idx="0">
                  <c:v>60</c:v>
                </c:pt>
                <c:pt idx="1">
                  <c:v>25</c:v>
                </c:pt>
                <c:pt idx="2">
                  <c:v>15</c:v>
                </c:pt>
              </c:numCache>
            </c:numRef>
          </c:val>
          <c:extLst>
            <c:ext xmlns:c16="http://schemas.microsoft.com/office/drawing/2014/chart" uri="{C3380CC4-5D6E-409C-BE32-E72D297353CC}">
              <c16:uniqueId val="{00000007-F383-4D7A-A397-1C6DBFFFC7BE}"/>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solidFill>
          <a:schemeClr val="lt1">
            <a:alpha val="50000"/>
          </a:schemeClr>
        </a:solid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pattFill prst="dkDnDiag">
      <a:fgClr>
        <a:schemeClr val="lt1"/>
      </a:fgClr>
      <a:bgClr>
        <a:schemeClr val="dk1">
          <a:lumMod val="10000"/>
          <a:lumOff val="90000"/>
        </a:schemeClr>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E9D5B9-13DA-4F72-8792-75477F047E20}"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en-US"/>
        </a:p>
      </dgm:t>
    </dgm:pt>
    <dgm:pt modelId="{410996A3-1876-427B-8619-01EF74A1376F}">
      <dgm:prSet/>
      <dgm:spPr>
        <a:solidFill>
          <a:srgbClr val="92D050"/>
        </a:solidFill>
      </dgm:spPr>
      <dgm:t>
        <a:bodyPr/>
        <a:lstStyle/>
        <a:p>
          <a:r>
            <a:rPr lang="en-US"/>
            <a:t>Block 1</a:t>
          </a:r>
        </a:p>
      </dgm:t>
    </dgm:pt>
    <dgm:pt modelId="{B84D6E03-D3D1-4316-80CD-DFBE2F92709C}" type="parTrans" cxnId="{53360D78-1EFF-4072-848F-964E581B3E16}">
      <dgm:prSet/>
      <dgm:spPr/>
      <dgm:t>
        <a:bodyPr/>
        <a:lstStyle/>
        <a:p>
          <a:endParaRPr lang="en-US"/>
        </a:p>
      </dgm:t>
    </dgm:pt>
    <dgm:pt modelId="{0D332BCE-E91A-41AC-BE6C-8A94341D797E}" type="sibTrans" cxnId="{53360D78-1EFF-4072-848F-964E581B3E16}">
      <dgm:prSet phldrT="1" phldr="0"/>
      <dgm:spPr>
        <a:solidFill>
          <a:srgbClr val="92D050"/>
        </a:solidFill>
      </dgm:spPr>
      <dgm:t>
        <a:bodyPr/>
        <a:lstStyle/>
        <a:p>
          <a:endParaRPr lang="en-US"/>
        </a:p>
      </dgm:t>
    </dgm:pt>
    <dgm:pt modelId="{958E7EB4-97A1-4EA7-A93F-EC7592FC35AC}">
      <dgm:prSet/>
      <dgm:spPr>
        <a:ln>
          <a:solidFill>
            <a:srgbClr val="92D050"/>
          </a:solidFill>
        </a:ln>
      </dgm:spPr>
      <dgm:t>
        <a:bodyPr/>
        <a:lstStyle/>
        <a:p>
          <a:r>
            <a:rPr lang="en-US" dirty="0"/>
            <a:t>Certification of origin</a:t>
          </a:r>
        </a:p>
      </dgm:t>
    </dgm:pt>
    <dgm:pt modelId="{E957C203-056B-4C2F-A6CD-C1D2895677ED}" type="parTrans" cxnId="{B6E240E0-47D4-4273-8025-B49303B5B88F}">
      <dgm:prSet/>
      <dgm:spPr/>
      <dgm:t>
        <a:bodyPr/>
        <a:lstStyle/>
        <a:p>
          <a:endParaRPr lang="en-US"/>
        </a:p>
      </dgm:t>
    </dgm:pt>
    <dgm:pt modelId="{0FB2CA78-CFFB-4309-8FDB-FD56FC39CFED}" type="sibTrans" cxnId="{B6E240E0-47D4-4273-8025-B49303B5B88F}">
      <dgm:prSet/>
      <dgm:spPr/>
      <dgm:t>
        <a:bodyPr/>
        <a:lstStyle/>
        <a:p>
          <a:endParaRPr lang="en-US"/>
        </a:p>
      </dgm:t>
    </dgm:pt>
    <dgm:pt modelId="{7EE7E199-427B-4FC1-B825-C16DCF15F568}">
      <dgm:prSet/>
      <dgm:spPr>
        <a:solidFill>
          <a:srgbClr val="996633"/>
        </a:solidFill>
      </dgm:spPr>
      <dgm:t>
        <a:bodyPr/>
        <a:lstStyle/>
        <a:p>
          <a:r>
            <a:rPr lang="en-US"/>
            <a:t>Block 2</a:t>
          </a:r>
        </a:p>
      </dgm:t>
    </dgm:pt>
    <dgm:pt modelId="{E6011DA0-9736-47E3-B44B-90FCA3AB6900}" type="parTrans" cxnId="{1061FA59-8945-4D81-B981-7D803F7EC195}">
      <dgm:prSet/>
      <dgm:spPr/>
      <dgm:t>
        <a:bodyPr/>
        <a:lstStyle/>
        <a:p>
          <a:endParaRPr lang="en-US"/>
        </a:p>
      </dgm:t>
    </dgm:pt>
    <dgm:pt modelId="{7A35305D-7192-4B71-B0AB-8176B2EF4033}" type="sibTrans" cxnId="{1061FA59-8945-4D81-B981-7D803F7EC195}">
      <dgm:prSet phldrT="2" phldr="0"/>
      <dgm:spPr>
        <a:solidFill>
          <a:srgbClr val="996633"/>
        </a:solidFill>
      </dgm:spPr>
      <dgm:t>
        <a:bodyPr/>
        <a:lstStyle/>
        <a:p>
          <a:endParaRPr lang="en-US"/>
        </a:p>
      </dgm:t>
    </dgm:pt>
    <dgm:pt modelId="{3567D00F-9F9D-4E0C-A6A1-8576F4FD8CA2}">
      <dgm:prSet/>
      <dgm:spPr>
        <a:ln>
          <a:solidFill>
            <a:srgbClr val="996633"/>
          </a:solidFill>
        </a:ln>
      </dgm:spPr>
      <dgm:t>
        <a:bodyPr/>
        <a:lstStyle/>
        <a:p>
          <a:r>
            <a:rPr lang="en-US" dirty="0"/>
            <a:t>Batch Number</a:t>
          </a:r>
        </a:p>
      </dgm:t>
    </dgm:pt>
    <dgm:pt modelId="{0622CA02-530B-410D-9E90-9A0C4DD5FDE2}" type="parTrans" cxnId="{5F4EFB51-02E1-4E74-9865-4F820EC7ED11}">
      <dgm:prSet/>
      <dgm:spPr/>
      <dgm:t>
        <a:bodyPr/>
        <a:lstStyle/>
        <a:p>
          <a:endParaRPr lang="en-US"/>
        </a:p>
      </dgm:t>
    </dgm:pt>
    <dgm:pt modelId="{45891F2F-B20C-44F1-820C-B4604E1EC58A}" type="sibTrans" cxnId="{5F4EFB51-02E1-4E74-9865-4F820EC7ED11}">
      <dgm:prSet/>
      <dgm:spPr/>
      <dgm:t>
        <a:bodyPr/>
        <a:lstStyle/>
        <a:p>
          <a:endParaRPr lang="en-US"/>
        </a:p>
      </dgm:t>
    </dgm:pt>
    <dgm:pt modelId="{50081784-CBED-4272-8EBF-0630045AFC6A}">
      <dgm:prSet/>
      <dgm:spPr>
        <a:solidFill>
          <a:srgbClr val="00B0F0"/>
        </a:solidFill>
      </dgm:spPr>
      <dgm:t>
        <a:bodyPr/>
        <a:lstStyle/>
        <a:p>
          <a:r>
            <a:rPr lang="en-US"/>
            <a:t>Block 3</a:t>
          </a:r>
        </a:p>
      </dgm:t>
    </dgm:pt>
    <dgm:pt modelId="{3698F50F-D66C-4D38-B9D4-3A563307CFC3}" type="parTrans" cxnId="{1952BCC8-F3BC-408B-AFB9-C794A21046EC}">
      <dgm:prSet/>
      <dgm:spPr/>
      <dgm:t>
        <a:bodyPr/>
        <a:lstStyle/>
        <a:p>
          <a:endParaRPr lang="en-US"/>
        </a:p>
      </dgm:t>
    </dgm:pt>
    <dgm:pt modelId="{F04D5BBA-6660-46FC-9EEA-801EF24AC057}" type="sibTrans" cxnId="{1952BCC8-F3BC-408B-AFB9-C794A21046EC}">
      <dgm:prSet phldrT="3" phldr="0"/>
      <dgm:spPr>
        <a:solidFill>
          <a:srgbClr val="00B0F0"/>
        </a:solidFill>
      </dgm:spPr>
      <dgm:t>
        <a:bodyPr/>
        <a:lstStyle/>
        <a:p>
          <a:endParaRPr lang="en-US"/>
        </a:p>
      </dgm:t>
    </dgm:pt>
    <dgm:pt modelId="{AE870AF8-ABE5-4A26-83E4-F4866440CFC5}">
      <dgm:prSet/>
      <dgm:spPr>
        <a:ln>
          <a:solidFill>
            <a:srgbClr val="00B0F0"/>
          </a:solidFill>
        </a:ln>
      </dgm:spPr>
      <dgm:t>
        <a:bodyPr/>
        <a:lstStyle/>
        <a:p>
          <a:r>
            <a:rPr lang="en-US" dirty="0"/>
            <a:t>Batch Number</a:t>
          </a:r>
        </a:p>
      </dgm:t>
    </dgm:pt>
    <dgm:pt modelId="{41536802-7BB1-4723-9E1C-B27615648BE4}" type="parTrans" cxnId="{EBAF1C86-D157-424A-A534-935B6BD7596C}">
      <dgm:prSet/>
      <dgm:spPr/>
      <dgm:t>
        <a:bodyPr/>
        <a:lstStyle/>
        <a:p>
          <a:endParaRPr lang="en-US"/>
        </a:p>
      </dgm:t>
    </dgm:pt>
    <dgm:pt modelId="{E1A66384-0FB7-44CE-AB01-73CDD6617AB4}" type="sibTrans" cxnId="{EBAF1C86-D157-424A-A534-935B6BD7596C}">
      <dgm:prSet/>
      <dgm:spPr/>
      <dgm:t>
        <a:bodyPr/>
        <a:lstStyle/>
        <a:p>
          <a:endParaRPr lang="en-US"/>
        </a:p>
      </dgm:t>
    </dgm:pt>
    <dgm:pt modelId="{91D2A330-3EFD-4300-B60D-760A3D5678DA}">
      <dgm:prSet/>
      <dgm:spPr>
        <a:solidFill>
          <a:srgbClr val="FF9900"/>
        </a:solidFill>
      </dgm:spPr>
      <dgm:t>
        <a:bodyPr/>
        <a:lstStyle/>
        <a:p>
          <a:r>
            <a:rPr lang="en-US"/>
            <a:t>Block 4</a:t>
          </a:r>
        </a:p>
      </dgm:t>
    </dgm:pt>
    <dgm:pt modelId="{7253383F-8DA3-4742-875D-08E3DED0E68A}" type="parTrans" cxnId="{4338135F-FD46-4582-87E4-4720F0FD5911}">
      <dgm:prSet/>
      <dgm:spPr/>
      <dgm:t>
        <a:bodyPr/>
        <a:lstStyle/>
        <a:p>
          <a:endParaRPr lang="en-US"/>
        </a:p>
      </dgm:t>
    </dgm:pt>
    <dgm:pt modelId="{421B6D60-8544-4BA1-99BC-FFD7462FF518}" type="sibTrans" cxnId="{4338135F-FD46-4582-87E4-4720F0FD5911}">
      <dgm:prSet phldrT="4" phldr="0"/>
      <dgm:spPr>
        <a:solidFill>
          <a:srgbClr val="FF9900"/>
        </a:solidFill>
      </dgm:spPr>
      <dgm:t>
        <a:bodyPr/>
        <a:lstStyle/>
        <a:p>
          <a:endParaRPr lang="en-US"/>
        </a:p>
      </dgm:t>
    </dgm:pt>
    <dgm:pt modelId="{A321CD77-4E01-4413-B8A5-D674F2C86E2C}">
      <dgm:prSet/>
      <dgm:spPr>
        <a:ln>
          <a:solidFill>
            <a:srgbClr val="FF9900"/>
          </a:solidFill>
        </a:ln>
      </dgm:spPr>
      <dgm:t>
        <a:bodyPr/>
        <a:lstStyle/>
        <a:p>
          <a:r>
            <a:rPr lang="en-US" dirty="0"/>
            <a:t>Batch Number</a:t>
          </a:r>
        </a:p>
      </dgm:t>
    </dgm:pt>
    <dgm:pt modelId="{15B190AB-80C8-49F1-BFB7-1DCEF9967F8E}" type="parTrans" cxnId="{EBC7EEF0-3D19-4FBC-AAF4-373EB8B7BF8C}">
      <dgm:prSet/>
      <dgm:spPr/>
      <dgm:t>
        <a:bodyPr/>
        <a:lstStyle/>
        <a:p>
          <a:endParaRPr lang="en-US"/>
        </a:p>
      </dgm:t>
    </dgm:pt>
    <dgm:pt modelId="{5993B8C5-C5C1-4832-9E76-E7739B56EF69}" type="sibTrans" cxnId="{EBC7EEF0-3D19-4FBC-AAF4-373EB8B7BF8C}">
      <dgm:prSet/>
      <dgm:spPr/>
      <dgm:t>
        <a:bodyPr/>
        <a:lstStyle/>
        <a:p>
          <a:endParaRPr lang="en-US"/>
        </a:p>
      </dgm:t>
    </dgm:pt>
    <dgm:pt modelId="{02BD8472-87D7-4273-B802-477A00CA1A66}">
      <dgm:prSet/>
      <dgm:spPr>
        <a:ln>
          <a:solidFill>
            <a:srgbClr val="FF9900"/>
          </a:solidFill>
        </a:ln>
      </dgm:spPr>
      <dgm:t>
        <a:bodyPr/>
        <a:lstStyle/>
        <a:p>
          <a:r>
            <a:rPr lang="en-US" dirty="0"/>
            <a:t>Quality Checks</a:t>
          </a:r>
        </a:p>
      </dgm:t>
    </dgm:pt>
    <dgm:pt modelId="{587AD571-4760-48D3-96CE-AAA037E0200D}" type="parTrans" cxnId="{0DC7B676-928D-4EB9-9677-97B03BBE6B0C}">
      <dgm:prSet/>
      <dgm:spPr/>
      <dgm:t>
        <a:bodyPr/>
        <a:lstStyle/>
        <a:p>
          <a:endParaRPr lang="en-US"/>
        </a:p>
      </dgm:t>
    </dgm:pt>
    <dgm:pt modelId="{CCC90E03-E230-49A6-8E65-A0DE7DA6BAC4}" type="sibTrans" cxnId="{0DC7B676-928D-4EB9-9677-97B03BBE6B0C}">
      <dgm:prSet/>
      <dgm:spPr/>
      <dgm:t>
        <a:bodyPr/>
        <a:lstStyle/>
        <a:p>
          <a:endParaRPr lang="en-US"/>
        </a:p>
      </dgm:t>
    </dgm:pt>
    <dgm:pt modelId="{B92D5692-AC2F-41D6-A45E-79519340FCB7}">
      <dgm:prSet/>
      <dgm:spPr>
        <a:solidFill>
          <a:schemeClr val="accent4">
            <a:lumMod val="75000"/>
          </a:schemeClr>
        </a:solidFill>
      </dgm:spPr>
      <dgm:t>
        <a:bodyPr/>
        <a:lstStyle/>
        <a:p>
          <a:r>
            <a:rPr lang="en-US" dirty="0"/>
            <a:t>Block 5</a:t>
          </a:r>
        </a:p>
      </dgm:t>
    </dgm:pt>
    <dgm:pt modelId="{9F174E15-7B9F-4FCA-AB3D-19C5DC56986B}" type="parTrans" cxnId="{0E759509-1D9D-4DE5-A6BC-09AD1B0A3544}">
      <dgm:prSet/>
      <dgm:spPr/>
      <dgm:t>
        <a:bodyPr/>
        <a:lstStyle/>
        <a:p>
          <a:endParaRPr lang="en-US"/>
        </a:p>
      </dgm:t>
    </dgm:pt>
    <dgm:pt modelId="{4556F937-B510-476F-A73A-293C9BBDFA8E}" type="sibTrans" cxnId="{0E759509-1D9D-4DE5-A6BC-09AD1B0A3544}">
      <dgm:prSet phldrT="5" phldr="0"/>
      <dgm:spPr>
        <a:solidFill>
          <a:schemeClr val="accent4">
            <a:lumMod val="75000"/>
          </a:schemeClr>
        </a:solidFill>
      </dgm:spPr>
      <dgm:t>
        <a:bodyPr/>
        <a:lstStyle/>
        <a:p>
          <a:endParaRPr lang="en-US"/>
        </a:p>
      </dgm:t>
    </dgm:pt>
    <dgm:pt modelId="{490C49C0-9CFC-4278-A51A-DC5868727DD6}">
      <dgm:prSet/>
      <dgm:spPr>
        <a:ln>
          <a:solidFill>
            <a:schemeClr val="accent4">
              <a:lumMod val="75000"/>
            </a:schemeClr>
          </a:solidFill>
        </a:ln>
      </dgm:spPr>
      <dgm:t>
        <a:bodyPr/>
        <a:lstStyle/>
        <a:p>
          <a:r>
            <a:rPr lang="en-US" dirty="0"/>
            <a:t>Warehouse Id</a:t>
          </a:r>
        </a:p>
      </dgm:t>
    </dgm:pt>
    <dgm:pt modelId="{AF1BC8A3-BE7A-4C60-9C48-2A2767AA4A19}" type="parTrans" cxnId="{6A46BBAB-BC8B-4C1D-BB27-3F27BC90B426}">
      <dgm:prSet/>
      <dgm:spPr/>
      <dgm:t>
        <a:bodyPr/>
        <a:lstStyle/>
        <a:p>
          <a:endParaRPr lang="en-US"/>
        </a:p>
      </dgm:t>
    </dgm:pt>
    <dgm:pt modelId="{B4D4B625-CF6C-4B24-9549-589CC628214E}" type="sibTrans" cxnId="{6A46BBAB-BC8B-4C1D-BB27-3F27BC90B426}">
      <dgm:prSet/>
      <dgm:spPr/>
      <dgm:t>
        <a:bodyPr/>
        <a:lstStyle/>
        <a:p>
          <a:endParaRPr lang="en-US"/>
        </a:p>
      </dgm:t>
    </dgm:pt>
    <dgm:pt modelId="{F5018F97-8871-4F2D-819E-E60BDB3C1281}">
      <dgm:prSet/>
      <dgm:spPr>
        <a:solidFill>
          <a:srgbClr val="FFC000"/>
        </a:solidFill>
      </dgm:spPr>
      <dgm:t>
        <a:bodyPr/>
        <a:lstStyle/>
        <a:p>
          <a:r>
            <a:rPr lang="en-US"/>
            <a:t>Block 6</a:t>
          </a:r>
        </a:p>
      </dgm:t>
    </dgm:pt>
    <dgm:pt modelId="{773F52F3-3255-41F6-A3B0-2B09F9FE32FF}" type="parTrans" cxnId="{7A3FF6DE-3945-4201-974F-817330CF3C57}">
      <dgm:prSet/>
      <dgm:spPr/>
      <dgm:t>
        <a:bodyPr/>
        <a:lstStyle/>
        <a:p>
          <a:endParaRPr lang="en-US"/>
        </a:p>
      </dgm:t>
    </dgm:pt>
    <dgm:pt modelId="{64B34F3D-07F7-41E0-A18F-E536DD4BD1E5}" type="sibTrans" cxnId="{7A3FF6DE-3945-4201-974F-817330CF3C57}">
      <dgm:prSet phldrT="6" phldr="0"/>
      <dgm:spPr>
        <a:solidFill>
          <a:srgbClr val="FFC000"/>
        </a:solidFill>
      </dgm:spPr>
      <dgm:t>
        <a:bodyPr/>
        <a:lstStyle/>
        <a:p>
          <a:endParaRPr lang="en-US"/>
        </a:p>
      </dgm:t>
    </dgm:pt>
    <dgm:pt modelId="{4FA7543C-8B0D-49C7-B8E1-1E31E7997EAF}">
      <dgm:prSet/>
      <dgm:spPr>
        <a:ln>
          <a:solidFill>
            <a:srgbClr val="FFC000"/>
          </a:solidFill>
        </a:ln>
      </dgm:spPr>
      <dgm:t>
        <a:bodyPr/>
        <a:lstStyle/>
        <a:p>
          <a:r>
            <a:rPr lang="en-US" dirty="0"/>
            <a:t>Batch Number</a:t>
          </a:r>
        </a:p>
      </dgm:t>
    </dgm:pt>
    <dgm:pt modelId="{FFDB8D8C-199E-4006-8881-88BDE50593AD}" type="parTrans" cxnId="{E6614881-25C8-4352-AC49-387187F50028}">
      <dgm:prSet/>
      <dgm:spPr/>
      <dgm:t>
        <a:bodyPr/>
        <a:lstStyle/>
        <a:p>
          <a:endParaRPr lang="en-US"/>
        </a:p>
      </dgm:t>
    </dgm:pt>
    <dgm:pt modelId="{95B665CF-81C9-4706-9A3F-CD5F58BBE2E1}" type="sibTrans" cxnId="{E6614881-25C8-4352-AC49-387187F50028}">
      <dgm:prSet/>
      <dgm:spPr/>
      <dgm:t>
        <a:bodyPr/>
        <a:lstStyle/>
        <a:p>
          <a:endParaRPr lang="en-US"/>
        </a:p>
      </dgm:t>
    </dgm:pt>
    <dgm:pt modelId="{75F0BA59-0335-4497-AD01-C187B3B51155}">
      <dgm:prSet/>
      <dgm:spPr>
        <a:solidFill>
          <a:srgbClr val="CC66FF"/>
        </a:solidFill>
      </dgm:spPr>
      <dgm:t>
        <a:bodyPr/>
        <a:lstStyle/>
        <a:p>
          <a:r>
            <a:rPr lang="en-US"/>
            <a:t>Block 7</a:t>
          </a:r>
        </a:p>
      </dgm:t>
    </dgm:pt>
    <dgm:pt modelId="{03BDB488-27D9-4008-A219-DCC85E91B10C}" type="parTrans" cxnId="{74F81939-6B73-4B4E-944A-ED905A23FD8F}">
      <dgm:prSet/>
      <dgm:spPr/>
      <dgm:t>
        <a:bodyPr/>
        <a:lstStyle/>
        <a:p>
          <a:endParaRPr lang="en-US"/>
        </a:p>
      </dgm:t>
    </dgm:pt>
    <dgm:pt modelId="{0ED668AB-A03E-4254-B655-9318FD37CBE1}" type="sibTrans" cxnId="{74F81939-6B73-4B4E-944A-ED905A23FD8F}">
      <dgm:prSet phldrT="7" phldr="0"/>
      <dgm:spPr/>
      <dgm:t>
        <a:bodyPr/>
        <a:lstStyle/>
        <a:p>
          <a:endParaRPr lang="en-US"/>
        </a:p>
      </dgm:t>
    </dgm:pt>
    <dgm:pt modelId="{1418A582-38F6-4835-83D0-5F5E356C8805}">
      <dgm:prSet/>
      <dgm:spPr>
        <a:ln>
          <a:solidFill>
            <a:srgbClr val="CC66FF"/>
          </a:solidFill>
        </a:ln>
      </dgm:spPr>
      <dgm:t>
        <a:bodyPr/>
        <a:lstStyle/>
        <a:p>
          <a:r>
            <a:rPr lang="en-US" dirty="0"/>
            <a:t>Retail store ID</a:t>
          </a:r>
        </a:p>
      </dgm:t>
    </dgm:pt>
    <dgm:pt modelId="{E6449A5C-93AB-49D3-92FF-B8E3EF702A0D}" type="parTrans" cxnId="{7FC6D30A-9C6D-45C9-B04B-87F1789D8266}">
      <dgm:prSet/>
      <dgm:spPr/>
      <dgm:t>
        <a:bodyPr/>
        <a:lstStyle/>
        <a:p>
          <a:endParaRPr lang="en-US"/>
        </a:p>
      </dgm:t>
    </dgm:pt>
    <dgm:pt modelId="{9B9C30FE-6A5B-48A7-B13A-43D4933430E2}" type="sibTrans" cxnId="{7FC6D30A-9C6D-45C9-B04B-87F1789D8266}">
      <dgm:prSet/>
      <dgm:spPr/>
      <dgm:t>
        <a:bodyPr/>
        <a:lstStyle/>
        <a:p>
          <a:endParaRPr lang="en-US"/>
        </a:p>
      </dgm:t>
    </dgm:pt>
    <dgm:pt modelId="{D64E8F69-660F-4E4E-94CA-8CC931A14734}">
      <dgm:prSet/>
      <dgm:spPr>
        <a:ln>
          <a:solidFill>
            <a:srgbClr val="996633"/>
          </a:solidFill>
        </a:ln>
      </dgm:spPr>
      <dgm:t>
        <a:bodyPr/>
        <a:lstStyle/>
        <a:p>
          <a:r>
            <a:rPr lang="en-US" dirty="0"/>
            <a:t>Quality Checks</a:t>
          </a:r>
        </a:p>
      </dgm:t>
    </dgm:pt>
    <dgm:pt modelId="{00D369FB-D475-4B87-8C7B-F081726A582C}" type="parTrans" cxnId="{849024CC-DBF0-4E84-AAEC-2205BE4967C1}">
      <dgm:prSet/>
      <dgm:spPr/>
      <dgm:t>
        <a:bodyPr/>
        <a:lstStyle/>
        <a:p>
          <a:endParaRPr lang="en-US"/>
        </a:p>
      </dgm:t>
    </dgm:pt>
    <dgm:pt modelId="{64C7EFCC-28BD-44DC-80C5-0629DE5ED6B9}" type="sibTrans" cxnId="{849024CC-DBF0-4E84-AAEC-2205BE4967C1}">
      <dgm:prSet/>
      <dgm:spPr/>
      <dgm:t>
        <a:bodyPr/>
        <a:lstStyle/>
        <a:p>
          <a:endParaRPr lang="en-US"/>
        </a:p>
      </dgm:t>
    </dgm:pt>
    <dgm:pt modelId="{101B3EBF-49CD-4B2E-9725-A7D62D3FE0B0}">
      <dgm:prSet/>
      <dgm:spPr>
        <a:ln>
          <a:solidFill>
            <a:srgbClr val="92D050"/>
          </a:solidFill>
        </a:ln>
      </dgm:spPr>
      <dgm:t>
        <a:bodyPr/>
        <a:lstStyle/>
        <a:p>
          <a:r>
            <a:rPr lang="en-US" dirty="0"/>
            <a:t>Dry-fruits</a:t>
          </a:r>
        </a:p>
      </dgm:t>
    </dgm:pt>
    <dgm:pt modelId="{4AEA62E7-A3BD-4F40-B88D-519A22DFD53E}" type="parTrans" cxnId="{EF67222A-2E4C-4A48-B44E-A8FCCCB2A91E}">
      <dgm:prSet/>
      <dgm:spPr/>
      <dgm:t>
        <a:bodyPr/>
        <a:lstStyle/>
        <a:p>
          <a:endParaRPr lang="en-US"/>
        </a:p>
      </dgm:t>
    </dgm:pt>
    <dgm:pt modelId="{30C53E43-46D7-492C-A692-56B483D768FE}" type="sibTrans" cxnId="{EF67222A-2E4C-4A48-B44E-A8FCCCB2A91E}">
      <dgm:prSet/>
      <dgm:spPr/>
      <dgm:t>
        <a:bodyPr/>
        <a:lstStyle/>
        <a:p>
          <a:endParaRPr lang="en-US"/>
        </a:p>
      </dgm:t>
    </dgm:pt>
    <dgm:pt modelId="{2EEA74DD-0817-49AA-A3C4-0F588DAAD8B1}">
      <dgm:prSet/>
      <dgm:spPr>
        <a:ln>
          <a:solidFill>
            <a:srgbClr val="92D050"/>
          </a:solidFill>
        </a:ln>
      </dgm:spPr>
      <dgm:t>
        <a:bodyPr/>
        <a:lstStyle/>
        <a:p>
          <a:endParaRPr lang="en-US" dirty="0"/>
        </a:p>
      </dgm:t>
    </dgm:pt>
    <dgm:pt modelId="{0C8AFDDF-61B7-4128-B448-828DF33B57C8}" type="parTrans" cxnId="{F1A5F80C-F305-4460-ABC0-02D8F7BD81B5}">
      <dgm:prSet/>
      <dgm:spPr/>
      <dgm:t>
        <a:bodyPr/>
        <a:lstStyle/>
        <a:p>
          <a:endParaRPr lang="en-US"/>
        </a:p>
      </dgm:t>
    </dgm:pt>
    <dgm:pt modelId="{F45FDCB7-C59B-4AC4-8703-6E9671E0DA59}" type="sibTrans" cxnId="{F1A5F80C-F305-4460-ABC0-02D8F7BD81B5}">
      <dgm:prSet/>
      <dgm:spPr/>
      <dgm:t>
        <a:bodyPr/>
        <a:lstStyle/>
        <a:p>
          <a:endParaRPr lang="en-US"/>
        </a:p>
      </dgm:t>
    </dgm:pt>
    <dgm:pt modelId="{6345A572-43E9-4B75-B53F-B49FDD3F7B42}">
      <dgm:prSet/>
      <dgm:spPr>
        <a:ln>
          <a:solidFill>
            <a:srgbClr val="92D050"/>
          </a:solidFill>
        </a:ln>
      </dgm:spPr>
      <dgm:t>
        <a:bodyPr/>
        <a:lstStyle/>
        <a:p>
          <a:r>
            <a:rPr lang="en-US" dirty="0"/>
            <a:t>Milk powder</a:t>
          </a:r>
        </a:p>
      </dgm:t>
    </dgm:pt>
    <dgm:pt modelId="{4D0FE67F-3155-4C88-AE63-C65C23CED596}" type="parTrans" cxnId="{3ACD6696-DE9D-4606-AC8E-F0EB81D9693B}">
      <dgm:prSet/>
      <dgm:spPr/>
      <dgm:t>
        <a:bodyPr/>
        <a:lstStyle/>
        <a:p>
          <a:endParaRPr lang="en-US"/>
        </a:p>
      </dgm:t>
    </dgm:pt>
    <dgm:pt modelId="{CA1B6A4E-2200-4F69-A325-D18928C603E3}" type="sibTrans" cxnId="{3ACD6696-DE9D-4606-AC8E-F0EB81D9693B}">
      <dgm:prSet/>
      <dgm:spPr/>
      <dgm:t>
        <a:bodyPr/>
        <a:lstStyle/>
        <a:p>
          <a:endParaRPr lang="en-US"/>
        </a:p>
      </dgm:t>
    </dgm:pt>
    <dgm:pt modelId="{D89CF80B-C45C-4480-BE02-D49C1E1556D6}">
      <dgm:prSet/>
      <dgm:spPr>
        <a:ln>
          <a:solidFill>
            <a:srgbClr val="92D050"/>
          </a:solidFill>
        </a:ln>
      </dgm:spPr>
      <dgm:t>
        <a:bodyPr/>
        <a:lstStyle/>
        <a:p>
          <a:r>
            <a:rPr lang="en-US" dirty="0"/>
            <a:t>Sugar</a:t>
          </a:r>
        </a:p>
      </dgm:t>
    </dgm:pt>
    <dgm:pt modelId="{B70BC225-2BA8-432F-BF04-67607C600228}" type="parTrans" cxnId="{359350FA-E38B-4A92-9B3A-72525995CCC2}">
      <dgm:prSet/>
      <dgm:spPr/>
      <dgm:t>
        <a:bodyPr/>
        <a:lstStyle/>
        <a:p>
          <a:endParaRPr lang="en-US"/>
        </a:p>
      </dgm:t>
    </dgm:pt>
    <dgm:pt modelId="{6A5ECDB3-ACF6-4512-8DDB-F553ECE3BB99}" type="sibTrans" cxnId="{359350FA-E38B-4A92-9B3A-72525995CCC2}">
      <dgm:prSet/>
      <dgm:spPr/>
      <dgm:t>
        <a:bodyPr/>
        <a:lstStyle/>
        <a:p>
          <a:endParaRPr lang="en-US"/>
        </a:p>
      </dgm:t>
    </dgm:pt>
    <dgm:pt modelId="{7C5D7B9E-C846-4363-8073-423FF12FD17E}">
      <dgm:prSet/>
      <dgm:spPr>
        <a:ln>
          <a:solidFill>
            <a:srgbClr val="92D050"/>
          </a:solidFill>
        </a:ln>
      </dgm:spPr>
      <dgm:t>
        <a:bodyPr/>
        <a:lstStyle/>
        <a:p>
          <a:r>
            <a:rPr lang="en-US" dirty="0"/>
            <a:t>Flavorings</a:t>
          </a:r>
        </a:p>
      </dgm:t>
    </dgm:pt>
    <dgm:pt modelId="{EB8AB19B-47DE-4BE0-89C7-28E3FB214864}" type="parTrans" cxnId="{EC2F13AC-D91D-4A9C-9603-60E9658DFE4B}">
      <dgm:prSet/>
      <dgm:spPr/>
      <dgm:t>
        <a:bodyPr/>
        <a:lstStyle/>
        <a:p>
          <a:endParaRPr lang="en-US"/>
        </a:p>
      </dgm:t>
    </dgm:pt>
    <dgm:pt modelId="{92AA6177-AF2C-4F82-85C3-E55D07F72A03}" type="sibTrans" cxnId="{EC2F13AC-D91D-4A9C-9603-60E9658DFE4B}">
      <dgm:prSet/>
      <dgm:spPr/>
      <dgm:t>
        <a:bodyPr/>
        <a:lstStyle/>
        <a:p>
          <a:endParaRPr lang="en-US"/>
        </a:p>
      </dgm:t>
    </dgm:pt>
    <dgm:pt modelId="{828A6A97-DAD1-4C20-A8DF-FE1D888A0B09}">
      <dgm:prSet/>
      <dgm:spPr>
        <a:ln>
          <a:solidFill>
            <a:srgbClr val="92D050"/>
          </a:solidFill>
        </a:ln>
      </dgm:spPr>
      <dgm:t>
        <a:bodyPr/>
        <a:lstStyle/>
        <a:p>
          <a:r>
            <a:rPr lang="en-US" b="0" i="0" dirty="0"/>
            <a:t>Approved additives</a:t>
          </a:r>
          <a:endParaRPr lang="en-US" dirty="0"/>
        </a:p>
      </dgm:t>
    </dgm:pt>
    <dgm:pt modelId="{A1D9C5E7-8102-4AF0-BA1F-A3BF6365CB99}" type="parTrans" cxnId="{6E95749D-41E7-4236-BBAC-CF42C57AD124}">
      <dgm:prSet/>
      <dgm:spPr/>
      <dgm:t>
        <a:bodyPr/>
        <a:lstStyle/>
        <a:p>
          <a:endParaRPr lang="en-US"/>
        </a:p>
      </dgm:t>
    </dgm:pt>
    <dgm:pt modelId="{8A3BE89B-F8A3-4833-983A-157E3FA97FEC}" type="sibTrans" cxnId="{6E95749D-41E7-4236-BBAC-CF42C57AD124}">
      <dgm:prSet/>
      <dgm:spPr/>
      <dgm:t>
        <a:bodyPr/>
        <a:lstStyle/>
        <a:p>
          <a:endParaRPr lang="en-US"/>
        </a:p>
      </dgm:t>
    </dgm:pt>
    <dgm:pt modelId="{318927E0-508E-4C15-A91C-925A55ADF7D0}">
      <dgm:prSet/>
      <dgm:spPr>
        <a:ln>
          <a:solidFill>
            <a:srgbClr val="996633"/>
          </a:solidFill>
        </a:ln>
      </dgm:spPr>
      <dgm:t>
        <a:bodyPr/>
        <a:lstStyle/>
        <a:p>
          <a:r>
            <a:rPr lang="en-US" dirty="0"/>
            <a:t>Mixing Quality</a:t>
          </a:r>
        </a:p>
      </dgm:t>
    </dgm:pt>
    <dgm:pt modelId="{2D121D5C-F048-4545-A21A-F802551F1431}" type="parTrans" cxnId="{04C778AB-C1A5-403E-A999-1A0A526DA856}">
      <dgm:prSet/>
      <dgm:spPr/>
      <dgm:t>
        <a:bodyPr/>
        <a:lstStyle/>
        <a:p>
          <a:endParaRPr lang="en-US"/>
        </a:p>
      </dgm:t>
    </dgm:pt>
    <dgm:pt modelId="{EE9C7748-7F21-4238-AF0B-8479DA6305F1}" type="sibTrans" cxnId="{04C778AB-C1A5-403E-A999-1A0A526DA856}">
      <dgm:prSet/>
      <dgm:spPr/>
      <dgm:t>
        <a:bodyPr/>
        <a:lstStyle/>
        <a:p>
          <a:endParaRPr lang="en-US"/>
        </a:p>
      </dgm:t>
    </dgm:pt>
    <dgm:pt modelId="{06A886D3-0578-4AEA-9042-E6242B46E048}">
      <dgm:prSet/>
      <dgm:spPr>
        <a:ln>
          <a:solidFill>
            <a:srgbClr val="996633"/>
          </a:solidFill>
        </a:ln>
      </dgm:spPr>
      <dgm:t>
        <a:bodyPr/>
        <a:lstStyle/>
        <a:p>
          <a:r>
            <a:rPr lang="en-US" dirty="0"/>
            <a:t>Thickness</a:t>
          </a:r>
        </a:p>
      </dgm:t>
    </dgm:pt>
    <dgm:pt modelId="{5E8BF8B6-DB3E-423C-B0E1-FDE0B5A22685}" type="parTrans" cxnId="{010749A3-A3B6-49D1-8F12-62555CE578A7}">
      <dgm:prSet/>
      <dgm:spPr/>
      <dgm:t>
        <a:bodyPr/>
        <a:lstStyle/>
        <a:p>
          <a:endParaRPr lang="en-US"/>
        </a:p>
      </dgm:t>
    </dgm:pt>
    <dgm:pt modelId="{66DD06B9-6D3D-4B57-BE3C-042F2F810ED1}" type="sibTrans" cxnId="{010749A3-A3B6-49D1-8F12-62555CE578A7}">
      <dgm:prSet/>
      <dgm:spPr/>
      <dgm:t>
        <a:bodyPr/>
        <a:lstStyle/>
        <a:p>
          <a:endParaRPr lang="en-US"/>
        </a:p>
      </dgm:t>
    </dgm:pt>
    <dgm:pt modelId="{1706C7F9-61BB-49FA-B00A-469449FA5DA1}">
      <dgm:prSet/>
      <dgm:spPr>
        <a:ln>
          <a:solidFill>
            <a:srgbClr val="996633"/>
          </a:solidFill>
        </a:ln>
      </dgm:spPr>
      <dgm:t>
        <a:bodyPr/>
        <a:lstStyle/>
        <a:p>
          <a:r>
            <a:rPr lang="en-US" dirty="0"/>
            <a:t>Packing</a:t>
          </a:r>
        </a:p>
      </dgm:t>
    </dgm:pt>
    <dgm:pt modelId="{9CAB19EF-67D7-44BB-B845-15CFC4AF10EE}" type="parTrans" cxnId="{50063AF4-D448-401B-858B-46E6C4C6D173}">
      <dgm:prSet/>
      <dgm:spPr/>
      <dgm:t>
        <a:bodyPr/>
        <a:lstStyle/>
        <a:p>
          <a:endParaRPr lang="en-US"/>
        </a:p>
      </dgm:t>
    </dgm:pt>
    <dgm:pt modelId="{4F2A3FD0-B95E-4B8F-BEF3-18B5020D33CC}" type="sibTrans" cxnId="{50063AF4-D448-401B-858B-46E6C4C6D173}">
      <dgm:prSet/>
      <dgm:spPr/>
      <dgm:t>
        <a:bodyPr/>
        <a:lstStyle/>
        <a:p>
          <a:endParaRPr lang="en-US"/>
        </a:p>
      </dgm:t>
    </dgm:pt>
    <dgm:pt modelId="{C8E95D4A-17AE-4B18-BA11-9493F6FEA2A9}">
      <dgm:prSet/>
      <dgm:spPr>
        <a:ln>
          <a:solidFill>
            <a:srgbClr val="996633"/>
          </a:solidFill>
        </a:ln>
      </dgm:spPr>
      <dgm:t>
        <a:bodyPr/>
        <a:lstStyle/>
        <a:p>
          <a:r>
            <a:rPr lang="en-US" dirty="0"/>
            <a:t>Temperature</a:t>
          </a:r>
        </a:p>
      </dgm:t>
    </dgm:pt>
    <dgm:pt modelId="{6CEDF039-DCC0-4751-9DCE-D84870F8BAB9}" type="parTrans" cxnId="{CE8ECD72-3982-455E-B90C-1C7C23C72295}">
      <dgm:prSet/>
      <dgm:spPr/>
      <dgm:t>
        <a:bodyPr/>
        <a:lstStyle/>
        <a:p>
          <a:endParaRPr lang="en-US"/>
        </a:p>
      </dgm:t>
    </dgm:pt>
    <dgm:pt modelId="{C6F2503B-0E59-4EB5-A7CE-3402EF637388}" type="sibTrans" cxnId="{CE8ECD72-3982-455E-B90C-1C7C23C72295}">
      <dgm:prSet/>
      <dgm:spPr/>
      <dgm:t>
        <a:bodyPr/>
        <a:lstStyle/>
        <a:p>
          <a:endParaRPr lang="en-US"/>
        </a:p>
      </dgm:t>
    </dgm:pt>
    <dgm:pt modelId="{0B7AD4C9-C2CA-4CC9-8E6B-DC655B65F33E}">
      <dgm:prSet/>
      <dgm:spPr/>
      <dgm:t>
        <a:bodyPr/>
        <a:lstStyle/>
        <a:p>
          <a:r>
            <a:rPr lang="en-US" dirty="0"/>
            <a:t>Quality Checks</a:t>
          </a:r>
        </a:p>
      </dgm:t>
    </dgm:pt>
    <dgm:pt modelId="{AF931C29-A299-4548-BC0A-67762328719B}" type="parTrans" cxnId="{B9991EB9-605C-490B-B3CB-0B80DFC6AE8F}">
      <dgm:prSet/>
      <dgm:spPr/>
      <dgm:t>
        <a:bodyPr/>
        <a:lstStyle/>
        <a:p>
          <a:endParaRPr lang="en-US"/>
        </a:p>
      </dgm:t>
    </dgm:pt>
    <dgm:pt modelId="{D370BC12-4E96-4DE8-BF99-1A872495FA57}" type="sibTrans" cxnId="{B9991EB9-605C-490B-B3CB-0B80DFC6AE8F}">
      <dgm:prSet/>
      <dgm:spPr/>
      <dgm:t>
        <a:bodyPr/>
        <a:lstStyle/>
        <a:p>
          <a:endParaRPr lang="en-US"/>
        </a:p>
      </dgm:t>
    </dgm:pt>
    <dgm:pt modelId="{916EF624-B5CC-4BA7-9D60-9D50464E2430}">
      <dgm:prSet/>
      <dgm:spPr/>
      <dgm:t>
        <a:bodyPr/>
        <a:lstStyle/>
        <a:p>
          <a:r>
            <a:rPr lang="en-US" dirty="0"/>
            <a:t>Temperature</a:t>
          </a:r>
        </a:p>
      </dgm:t>
    </dgm:pt>
    <dgm:pt modelId="{85B62702-79F5-426E-B44B-52BEAD16F30E}" type="parTrans" cxnId="{25442F87-AC67-4AAF-AC29-BDB4C78F60FB}">
      <dgm:prSet/>
      <dgm:spPr/>
      <dgm:t>
        <a:bodyPr/>
        <a:lstStyle/>
        <a:p>
          <a:endParaRPr lang="en-US"/>
        </a:p>
      </dgm:t>
    </dgm:pt>
    <dgm:pt modelId="{448FC78B-FC6E-4A46-AE41-0C2FDB2ED459}" type="sibTrans" cxnId="{25442F87-AC67-4AAF-AC29-BDB4C78F60FB}">
      <dgm:prSet/>
      <dgm:spPr/>
      <dgm:t>
        <a:bodyPr/>
        <a:lstStyle/>
        <a:p>
          <a:endParaRPr lang="en-US"/>
        </a:p>
      </dgm:t>
    </dgm:pt>
    <dgm:pt modelId="{F628EDAC-DCF7-4FA8-83CC-B945CF6C45F5}">
      <dgm:prSet/>
      <dgm:spPr>
        <a:ln>
          <a:solidFill>
            <a:srgbClr val="00B0F0"/>
          </a:solidFill>
        </a:ln>
      </dgm:spPr>
      <dgm:t>
        <a:bodyPr/>
        <a:lstStyle/>
        <a:p>
          <a:r>
            <a:rPr lang="en-US" dirty="0"/>
            <a:t>Shipment Date</a:t>
          </a:r>
        </a:p>
      </dgm:t>
    </dgm:pt>
    <dgm:pt modelId="{5957997F-5659-4373-A47B-24CB81C791F0}" type="parTrans" cxnId="{E0208B41-FA5D-4AA1-8042-E8882902B077}">
      <dgm:prSet/>
      <dgm:spPr/>
      <dgm:t>
        <a:bodyPr/>
        <a:lstStyle/>
        <a:p>
          <a:endParaRPr lang="en-US"/>
        </a:p>
      </dgm:t>
    </dgm:pt>
    <dgm:pt modelId="{4CC06256-A475-40C8-A26E-FA0E562649E5}" type="sibTrans" cxnId="{E0208B41-FA5D-4AA1-8042-E8882902B077}">
      <dgm:prSet/>
      <dgm:spPr/>
      <dgm:t>
        <a:bodyPr/>
        <a:lstStyle/>
        <a:p>
          <a:endParaRPr lang="en-US"/>
        </a:p>
      </dgm:t>
    </dgm:pt>
    <dgm:pt modelId="{2AEB8BFB-B201-4E80-9EF5-0D68A0ED6329}">
      <dgm:prSet/>
      <dgm:spPr>
        <a:ln>
          <a:solidFill>
            <a:srgbClr val="00B0F0"/>
          </a:solidFill>
        </a:ln>
      </dgm:spPr>
      <dgm:t>
        <a:bodyPr/>
        <a:lstStyle/>
        <a:p>
          <a:r>
            <a:rPr lang="en-US" dirty="0"/>
            <a:t>Manufacturing Date</a:t>
          </a:r>
        </a:p>
      </dgm:t>
    </dgm:pt>
    <dgm:pt modelId="{F3878078-BCE1-4602-A7E0-104BD3EE3E75}" type="parTrans" cxnId="{DAB1542B-F3C6-4B24-962A-B36C28374B8A}">
      <dgm:prSet/>
      <dgm:spPr/>
      <dgm:t>
        <a:bodyPr/>
        <a:lstStyle/>
        <a:p>
          <a:endParaRPr lang="en-US"/>
        </a:p>
      </dgm:t>
    </dgm:pt>
    <dgm:pt modelId="{9A2A61DA-6344-4D98-A036-CA165561C9F8}" type="sibTrans" cxnId="{DAB1542B-F3C6-4B24-962A-B36C28374B8A}">
      <dgm:prSet/>
      <dgm:spPr/>
      <dgm:t>
        <a:bodyPr/>
        <a:lstStyle/>
        <a:p>
          <a:endParaRPr lang="en-US"/>
        </a:p>
      </dgm:t>
    </dgm:pt>
    <dgm:pt modelId="{07118542-99B4-4AE5-B2BF-8B4D81439501}">
      <dgm:prSet/>
      <dgm:spPr>
        <a:ln>
          <a:solidFill>
            <a:srgbClr val="00B0F0"/>
          </a:solidFill>
        </a:ln>
      </dgm:spPr>
      <dgm:t>
        <a:bodyPr/>
        <a:lstStyle/>
        <a:p>
          <a:r>
            <a:rPr lang="en-US" dirty="0"/>
            <a:t>Expiry Date </a:t>
          </a:r>
        </a:p>
      </dgm:t>
    </dgm:pt>
    <dgm:pt modelId="{3571E3B1-FA65-4BEC-AEED-E1FAF59DE1DE}" type="parTrans" cxnId="{363382AA-A975-4C33-87EC-CFB592D9700F}">
      <dgm:prSet/>
      <dgm:spPr/>
      <dgm:t>
        <a:bodyPr/>
        <a:lstStyle/>
        <a:p>
          <a:endParaRPr lang="en-US"/>
        </a:p>
      </dgm:t>
    </dgm:pt>
    <dgm:pt modelId="{55DD04B8-40BD-4A09-AD34-44A944E33292}" type="sibTrans" cxnId="{363382AA-A975-4C33-87EC-CFB592D9700F}">
      <dgm:prSet/>
      <dgm:spPr/>
      <dgm:t>
        <a:bodyPr/>
        <a:lstStyle/>
        <a:p>
          <a:endParaRPr lang="en-US"/>
        </a:p>
      </dgm:t>
    </dgm:pt>
    <dgm:pt modelId="{CCA3B98F-7B14-4209-8A06-43641A97A037}">
      <dgm:prSet/>
      <dgm:spPr>
        <a:ln>
          <a:solidFill>
            <a:srgbClr val="00B0F0"/>
          </a:solidFill>
        </a:ln>
      </dgm:spPr>
      <dgm:t>
        <a:bodyPr/>
        <a:lstStyle/>
        <a:p>
          <a:r>
            <a:rPr lang="en-US" dirty="0"/>
            <a:t>Shipment No</a:t>
          </a:r>
        </a:p>
      </dgm:t>
    </dgm:pt>
    <dgm:pt modelId="{1C150E6C-4822-43E6-9A27-E823F52218FC}" type="parTrans" cxnId="{D9CF88DB-8F86-48F9-B4D5-BB7905758C8C}">
      <dgm:prSet/>
      <dgm:spPr/>
      <dgm:t>
        <a:bodyPr/>
        <a:lstStyle/>
        <a:p>
          <a:endParaRPr lang="en-US"/>
        </a:p>
      </dgm:t>
    </dgm:pt>
    <dgm:pt modelId="{4FBA0D0C-9240-4C59-93CA-C8C68D411A7E}" type="sibTrans" cxnId="{D9CF88DB-8F86-48F9-B4D5-BB7905758C8C}">
      <dgm:prSet/>
      <dgm:spPr/>
      <dgm:t>
        <a:bodyPr/>
        <a:lstStyle/>
        <a:p>
          <a:endParaRPr lang="en-US"/>
        </a:p>
      </dgm:t>
    </dgm:pt>
    <dgm:pt modelId="{814F4D26-41F9-4CD1-9B5B-4319828E42D8}">
      <dgm:prSet/>
      <dgm:spPr/>
      <dgm:t>
        <a:bodyPr/>
        <a:lstStyle/>
        <a:p>
          <a:r>
            <a:rPr lang="en-US" dirty="0"/>
            <a:t>Temperature</a:t>
          </a:r>
        </a:p>
      </dgm:t>
    </dgm:pt>
    <dgm:pt modelId="{E7B41AB5-5BBF-4030-AA02-24DD58230EE0}" type="parTrans" cxnId="{32FE5CF0-25EA-4F18-A971-FBF9CB07F76F}">
      <dgm:prSet/>
      <dgm:spPr/>
      <dgm:t>
        <a:bodyPr/>
        <a:lstStyle/>
        <a:p>
          <a:endParaRPr lang="en-US"/>
        </a:p>
      </dgm:t>
    </dgm:pt>
    <dgm:pt modelId="{DC6D0941-5554-468D-8180-510474A4A917}" type="sibTrans" cxnId="{32FE5CF0-25EA-4F18-A971-FBF9CB07F76F}">
      <dgm:prSet/>
      <dgm:spPr/>
      <dgm:t>
        <a:bodyPr/>
        <a:lstStyle/>
        <a:p>
          <a:endParaRPr lang="en-US"/>
        </a:p>
      </dgm:t>
    </dgm:pt>
    <dgm:pt modelId="{E7CA1E12-D3F9-4B60-8F62-CF7043175E47}">
      <dgm:prSet/>
      <dgm:spPr>
        <a:ln>
          <a:solidFill>
            <a:schemeClr val="accent4">
              <a:lumMod val="75000"/>
            </a:schemeClr>
          </a:solidFill>
        </a:ln>
      </dgm:spPr>
      <dgm:t>
        <a:bodyPr/>
        <a:lstStyle/>
        <a:p>
          <a:r>
            <a:rPr lang="en-US" dirty="0"/>
            <a:t>Retail Transport ID</a:t>
          </a:r>
        </a:p>
      </dgm:t>
    </dgm:pt>
    <dgm:pt modelId="{AE788D89-936F-4586-998E-C39DE50DB6C3}" type="parTrans" cxnId="{439C541E-5BC8-4927-9EFC-98E078F81C04}">
      <dgm:prSet/>
      <dgm:spPr/>
      <dgm:t>
        <a:bodyPr/>
        <a:lstStyle/>
        <a:p>
          <a:endParaRPr lang="en-US"/>
        </a:p>
      </dgm:t>
    </dgm:pt>
    <dgm:pt modelId="{20B5D08C-131E-4E24-A297-1E9E2E443FCE}" type="sibTrans" cxnId="{439C541E-5BC8-4927-9EFC-98E078F81C04}">
      <dgm:prSet/>
      <dgm:spPr/>
      <dgm:t>
        <a:bodyPr/>
        <a:lstStyle/>
        <a:p>
          <a:endParaRPr lang="en-US"/>
        </a:p>
      </dgm:t>
    </dgm:pt>
    <dgm:pt modelId="{C544D5C2-E6C6-4537-BABA-A2B7CACF9D35}">
      <dgm:prSet/>
      <dgm:spPr>
        <a:ln>
          <a:solidFill>
            <a:schemeClr val="accent4">
              <a:lumMod val="75000"/>
            </a:schemeClr>
          </a:solidFill>
        </a:ln>
      </dgm:spPr>
      <dgm:t>
        <a:bodyPr/>
        <a:lstStyle/>
        <a:p>
          <a:r>
            <a:rPr lang="en-US" dirty="0"/>
            <a:t>Warehouse Receive Date</a:t>
          </a:r>
        </a:p>
      </dgm:t>
    </dgm:pt>
    <dgm:pt modelId="{957C1D69-B769-4121-9E53-0A07228623D5}" type="parTrans" cxnId="{87D7B0BB-B423-4946-9E66-277F18A24DE7}">
      <dgm:prSet/>
      <dgm:spPr/>
      <dgm:t>
        <a:bodyPr/>
        <a:lstStyle/>
        <a:p>
          <a:endParaRPr lang="en-US"/>
        </a:p>
      </dgm:t>
    </dgm:pt>
    <dgm:pt modelId="{239402BD-3C6E-49F9-94C2-1042689DCF10}" type="sibTrans" cxnId="{87D7B0BB-B423-4946-9E66-277F18A24DE7}">
      <dgm:prSet/>
      <dgm:spPr/>
      <dgm:t>
        <a:bodyPr/>
        <a:lstStyle/>
        <a:p>
          <a:endParaRPr lang="en-US"/>
        </a:p>
      </dgm:t>
    </dgm:pt>
    <dgm:pt modelId="{F3602643-27DD-494D-B6A3-50EDE142610E}">
      <dgm:prSet/>
      <dgm:spPr>
        <a:ln>
          <a:solidFill>
            <a:schemeClr val="accent4">
              <a:lumMod val="75000"/>
            </a:schemeClr>
          </a:solidFill>
        </a:ln>
      </dgm:spPr>
      <dgm:t>
        <a:bodyPr/>
        <a:lstStyle/>
        <a:p>
          <a:endParaRPr lang="en-US" dirty="0"/>
        </a:p>
      </dgm:t>
    </dgm:pt>
    <dgm:pt modelId="{4DA3A091-0B32-404D-A77E-A3AD2C9CD759}" type="parTrans" cxnId="{109F7740-CE2C-4624-9CFE-6E6AA0B6BD9D}">
      <dgm:prSet/>
      <dgm:spPr/>
      <dgm:t>
        <a:bodyPr/>
        <a:lstStyle/>
        <a:p>
          <a:endParaRPr lang="en-US"/>
        </a:p>
      </dgm:t>
    </dgm:pt>
    <dgm:pt modelId="{6688E361-E875-4C42-AA33-88F39F007CFE}" type="sibTrans" cxnId="{109F7740-CE2C-4624-9CFE-6E6AA0B6BD9D}">
      <dgm:prSet/>
      <dgm:spPr/>
      <dgm:t>
        <a:bodyPr/>
        <a:lstStyle/>
        <a:p>
          <a:endParaRPr lang="en-US"/>
        </a:p>
      </dgm:t>
    </dgm:pt>
    <dgm:pt modelId="{4A01D40A-EEAB-49F7-85B3-B8D831490A44}">
      <dgm:prSet/>
      <dgm:spPr>
        <a:ln>
          <a:solidFill>
            <a:schemeClr val="accent4">
              <a:lumMod val="75000"/>
            </a:schemeClr>
          </a:solidFill>
        </a:ln>
      </dgm:spPr>
      <dgm:t>
        <a:bodyPr/>
        <a:lstStyle/>
        <a:p>
          <a:r>
            <a:rPr lang="en-US" dirty="0"/>
            <a:t>Quality Checks</a:t>
          </a:r>
        </a:p>
      </dgm:t>
    </dgm:pt>
    <dgm:pt modelId="{0B12295A-19DF-4BAD-AFA0-2A1B96D68B5E}" type="parTrans" cxnId="{F1B410A1-DD96-45E3-B045-CB2A7115D4B0}">
      <dgm:prSet/>
      <dgm:spPr/>
      <dgm:t>
        <a:bodyPr/>
        <a:lstStyle/>
        <a:p>
          <a:endParaRPr lang="en-US"/>
        </a:p>
      </dgm:t>
    </dgm:pt>
    <dgm:pt modelId="{DACC9AE4-BD7A-4E84-8B90-434308D9B9ED}" type="sibTrans" cxnId="{F1B410A1-DD96-45E3-B045-CB2A7115D4B0}">
      <dgm:prSet/>
      <dgm:spPr/>
      <dgm:t>
        <a:bodyPr/>
        <a:lstStyle/>
        <a:p>
          <a:endParaRPr lang="en-US"/>
        </a:p>
      </dgm:t>
    </dgm:pt>
    <dgm:pt modelId="{C10824D7-EE42-4016-B168-0647087F7B4B}">
      <dgm:prSet/>
      <dgm:spPr/>
      <dgm:t>
        <a:bodyPr/>
        <a:lstStyle/>
        <a:p>
          <a:r>
            <a:rPr lang="en-US" dirty="0"/>
            <a:t>Temperature</a:t>
          </a:r>
        </a:p>
      </dgm:t>
    </dgm:pt>
    <dgm:pt modelId="{3D058D66-4C6C-4F83-839F-D7A30B59D5C0}" type="parTrans" cxnId="{9A3F3AD3-55C9-4BB2-94E0-D9311C8959B7}">
      <dgm:prSet/>
      <dgm:spPr/>
      <dgm:t>
        <a:bodyPr/>
        <a:lstStyle/>
        <a:p>
          <a:endParaRPr lang="en-US"/>
        </a:p>
      </dgm:t>
    </dgm:pt>
    <dgm:pt modelId="{01AF0F3B-490F-49D2-AFE4-75E91CDF1570}" type="sibTrans" cxnId="{9A3F3AD3-55C9-4BB2-94E0-D9311C8959B7}">
      <dgm:prSet/>
      <dgm:spPr/>
      <dgm:t>
        <a:bodyPr/>
        <a:lstStyle/>
        <a:p>
          <a:endParaRPr lang="en-US"/>
        </a:p>
      </dgm:t>
    </dgm:pt>
    <dgm:pt modelId="{1A457646-D139-40CF-9EB5-1F5E55D14C98}">
      <dgm:prSet/>
      <dgm:spPr/>
      <dgm:t>
        <a:bodyPr/>
        <a:lstStyle/>
        <a:p>
          <a:r>
            <a:rPr lang="en-US" dirty="0"/>
            <a:t>Quality Checks</a:t>
          </a:r>
        </a:p>
      </dgm:t>
    </dgm:pt>
    <dgm:pt modelId="{ACC891FD-4459-4F09-8115-B9CF75202B63}" type="parTrans" cxnId="{15D5C459-9962-4F22-AA86-6633889C220F}">
      <dgm:prSet/>
      <dgm:spPr/>
      <dgm:t>
        <a:bodyPr/>
        <a:lstStyle/>
        <a:p>
          <a:endParaRPr lang="en-US"/>
        </a:p>
      </dgm:t>
    </dgm:pt>
    <dgm:pt modelId="{894922C3-19D0-43D6-A7F8-1F827409AE07}" type="sibTrans" cxnId="{15D5C459-9962-4F22-AA86-6633889C220F}">
      <dgm:prSet/>
      <dgm:spPr/>
      <dgm:t>
        <a:bodyPr/>
        <a:lstStyle/>
        <a:p>
          <a:endParaRPr lang="en-US"/>
        </a:p>
      </dgm:t>
    </dgm:pt>
    <dgm:pt modelId="{5F670846-2A49-457F-A424-58C2E3E65417}">
      <dgm:prSet/>
      <dgm:spPr/>
      <dgm:t>
        <a:bodyPr/>
        <a:lstStyle/>
        <a:p>
          <a:r>
            <a:rPr lang="en-US" dirty="0"/>
            <a:t>Temperature</a:t>
          </a:r>
        </a:p>
      </dgm:t>
    </dgm:pt>
    <dgm:pt modelId="{18867268-05B1-4CD5-84BB-2CC15D969B6A}" type="parTrans" cxnId="{D0A2BA33-D323-4268-961B-D064F75F7FDE}">
      <dgm:prSet/>
      <dgm:spPr/>
      <dgm:t>
        <a:bodyPr/>
        <a:lstStyle/>
        <a:p>
          <a:endParaRPr lang="en-US"/>
        </a:p>
      </dgm:t>
    </dgm:pt>
    <dgm:pt modelId="{34C28A3E-D8FC-45E9-831B-7386F8AB5FD6}" type="sibTrans" cxnId="{D0A2BA33-D323-4268-961B-D064F75F7FDE}">
      <dgm:prSet/>
      <dgm:spPr/>
      <dgm:t>
        <a:bodyPr/>
        <a:lstStyle/>
        <a:p>
          <a:endParaRPr lang="en-US"/>
        </a:p>
      </dgm:t>
    </dgm:pt>
    <dgm:pt modelId="{44B1C0A7-8682-496E-8207-8762B3C88478}">
      <dgm:prSet/>
      <dgm:spPr>
        <a:ln>
          <a:solidFill>
            <a:schemeClr val="accent4">
              <a:lumMod val="75000"/>
            </a:schemeClr>
          </a:solidFill>
        </a:ln>
      </dgm:spPr>
      <dgm:t>
        <a:bodyPr/>
        <a:lstStyle/>
        <a:p>
          <a:r>
            <a:rPr lang="en-US" dirty="0"/>
            <a:t>Retail Invoice Number</a:t>
          </a:r>
        </a:p>
      </dgm:t>
    </dgm:pt>
    <dgm:pt modelId="{B91F4CFD-CA7F-4736-AAC6-6A000555593D}" type="parTrans" cxnId="{97369186-6DC5-4EFC-875A-E02A68C3CF2F}">
      <dgm:prSet/>
      <dgm:spPr/>
    </dgm:pt>
    <dgm:pt modelId="{A39483FE-1ED8-4B2D-B2C5-D22C50FD2CD0}" type="sibTrans" cxnId="{97369186-6DC5-4EFC-875A-E02A68C3CF2F}">
      <dgm:prSet/>
      <dgm:spPr/>
    </dgm:pt>
    <dgm:pt modelId="{B613E137-A897-4E49-A95D-C078D4F48276}">
      <dgm:prSet/>
      <dgm:spPr>
        <a:ln>
          <a:solidFill>
            <a:srgbClr val="CC66FF"/>
          </a:solidFill>
        </a:ln>
      </dgm:spPr>
      <dgm:t>
        <a:bodyPr/>
        <a:lstStyle/>
        <a:p>
          <a:r>
            <a:rPr lang="en-US" dirty="0"/>
            <a:t> Retail Receive Date</a:t>
          </a:r>
        </a:p>
      </dgm:t>
    </dgm:pt>
    <dgm:pt modelId="{FF96B7AE-8A17-44F0-B4B3-A6B15A62CB06}" type="parTrans" cxnId="{6B757DC4-8CB1-4E50-88EE-111B5F8B1691}">
      <dgm:prSet/>
      <dgm:spPr/>
    </dgm:pt>
    <dgm:pt modelId="{5E77A717-6CB8-4A40-B8B3-7793D70CB052}" type="sibTrans" cxnId="{6B757DC4-8CB1-4E50-88EE-111B5F8B1691}">
      <dgm:prSet/>
      <dgm:spPr/>
    </dgm:pt>
    <dgm:pt modelId="{5239F8CA-610A-4ADE-AD5C-AB36573281A7}">
      <dgm:prSet/>
      <dgm:spPr>
        <a:ln>
          <a:solidFill>
            <a:srgbClr val="CC66FF"/>
          </a:solidFill>
        </a:ln>
      </dgm:spPr>
      <dgm:t>
        <a:bodyPr/>
        <a:lstStyle/>
        <a:p>
          <a:r>
            <a:rPr lang="en-US" dirty="0"/>
            <a:t>Quality Checks</a:t>
          </a:r>
        </a:p>
      </dgm:t>
    </dgm:pt>
    <dgm:pt modelId="{FB51A4E0-D316-478D-815F-464AFA68BE92}" type="parTrans" cxnId="{55A4FF93-8C9D-4E42-9787-2AF03E9440C7}">
      <dgm:prSet/>
      <dgm:spPr/>
    </dgm:pt>
    <dgm:pt modelId="{9D22A8FA-3EE7-438F-B03E-D3FDB2A40000}" type="sibTrans" cxnId="{55A4FF93-8C9D-4E42-9787-2AF03E9440C7}">
      <dgm:prSet/>
      <dgm:spPr/>
    </dgm:pt>
    <dgm:pt modelId="{24685C9A-7CCD-4D86-B883-DB696A7EA744}">
      <dgm:prSet/>
      <dgm:spPr/>
      <dgm:t>
        <a:bodyPr/>
        <a:lstStyle/>
        <a:p>
          <a:r>
            <a:rPr lang="en-US" dirty="0"/>
            <a:t>Temperature</a:t>
          </a:r>
        </a:p>
      </dgm:t>
    </dgm:pt>
    <dgm:pt modelId="{D8257248-1521-475C-AA9D-F59E7563338D}" type="parTrans" cxnId="{2C1AFD80-4D33-40E2-A9F3-143BF4748E7A}">
      <dgm:prSet/>
      <dgm:spPr/>
      <dgm:t>
        <a:bodyPr/>
        <a:lstStyle/>
        <a:p>
          <a:endParaRPr lang="en-US"/>
        </a:p>
      </dgm:t>
    </dgm:pt>
    <dgm:pt modelId="{10CBC2EE-F6DE-442B-836B-8F4B72F639E8}" type="sibTrans" cxnId="{2C1AFD80-4D33-40E2-A9F3-143BF4748E7A}">
      <dgm:prSet/>
      <dgm:spPr/>
      <dgm:t>
        <a:bodyPr/>
        <a:lstStyle/>
        <a:p>
          <a:endParaRPr lang="en-US"/>
        </a:p>
      </dgm:t>
    </dgm:pt>
    <dgm:pt modelId="{DBABD9ED-9661-4F93-A727-C1A378C7A803}">
      <dgm:prSet/>
      <dgm:spPr>
        <a:ln>
          <a:solidFill>
            <a:srgbClr val="92D050"/>
          </a:solidFill>
        </a:ln>
      </dgm:spPr>
      <dgm:t>
        <a:bodyPr/>
        <a:lstStyle/>
        <a:p>
          <a:endParaRPr lang="en-US" dirty="0"/>
        </a:p>
      </dgm:t>
    </dgm:pt>
    <dgm:pt modelId="{C2DA8160-CB50-4909-8831-6AF91F767AA8}" type="parTrans" cxnId="{2F1A52EB-803B-44E2-9661-07084977A101}">
      <dgm:prSet/>
      <dgm:spPr/>
    </dgm:pt>
    <dgm:pt modelId="{E03EC33D-0BB5-4057-B0A2-2D5848F5AFE3}" type="sibTrans" cxnId="{2F1A52EB-803B-44E2-9661-07084977A101}">
      <dgm:prSet/>
      <dgm:spPr/>
    </dgm:pt>
    <dgm:pt modelId="{6F25E62D-2089-44EC-AEE9-31F33F5D002A}">
      <dgm:prSet/>
      <dgm:spPr>
        <a:ln>
          <a:solidFill>
            <a:srgbClr val="92D050"/>
          </a:solidFill>
        </a:ln>
      </dgm:spPr>
      <dgm:t>
        <a:bodyPr/>
        <a:lstStyle/>
        <a:p>
          <a:r>
            <a:rPr lang="en-US" dirty="0"/>
            <a:t>Batch number</a:t>
          </a:r>
        </a:p>
      </dgm:t>
    </dgm:pt>
    <dgm:pt modelId="{59735D78-5F32-4E17-A314-ACD5C0E6577C}" type="parTrans" cxnId="{71607C50-4AD7-4B26-B5F0-BEB122EC364D}">
      <dgm:prSet/>
      <dgm:spPr/>
    </dgm:pt>
    <dgm:pt modelId="{590BBF68-4E86-4AFA-8966-2C9CB06A285C}" type="sibTrans" cxnId="{71607C50-4AD7-4B26-B5F0-BEB122EC364D}">
      <dgm:prSet/>
      <dgm:spPr/>
    </dgm:pt>
    <dgm:pt modelId="{051DFEA8-AF56-4D20-95CD-AA2430564363}">
      <dgm:prSet/>
      <dgm:spPr>
        <a:ln>
          <a:solidFill>
            <a:srgbClr val="CC66FF"/>
          </a:solidFill>
        </a:ln>
      </dgm:spPr>
      <dgm:t>
        <a:bodyPr/>
        <a:lstStyle/>
        <a:p>
          <a:r>
            <a:rPr lang="en-US" dirty="0"/>
            <a:t>Batch number</a:t>
          </a:r>
        </a:p>
      </dgm:t>
    </dgm:pt>
    <dgm:pt modelId="{B3A9884E-137F-4252-9F19-632D68364E4D}" type="parTrans" cxnId="{6F8B9AC8-0936-426B-B52C-6589082FA4A3}">
      <dgm:prSet/>
      <dgm:spPr/>
    </dgm:pt>
    <dgm:pt modelId="{7756BBB0-6168-4347-96F2-DB6AAD6ABA5B}" type="sibTrans" cxnId="{6F8B9AC8-0936-426B-B52C-6589082FA4A3}">
      <dgm:prSet/>
      <dgm:spPr/>
    </dgm:pt>
    <dgm:pt modelId="{D3171BDF-1AEF-4492-BED3-6389611231A9}">
      <dgm:prSet/>
      <dgm:spPr>
        <a:ln>
          <a:solidFill>
            <a:schemeClr val="accent4">
              <a:lumMod val="75000"/>
            </a:schemeClr>
          </a:solidFill>
        </a:ln>
      </dgm:spPr>
      <dgm:t>
        <a:bodyPr/>
        <a:lstStyle/>
        <a:p>
          <a:r>
            <a:rPr lang="en-US" dirty="0"/>
            <a:t>Batch Number</a:t>
          </a:r>
        </a:p>
      </dgm:t>
    </dgm:pt>
    <dgm:pt modelId="{955B3EDC-BF97-4C7A-80ED-618A2A190036}" type="parTrans" cxnId="{212CF0D1-371C-4E47-87CE-57A668EA09B9}">
      <dgm:prSet/>
      <dgm:spPr/>
    </dgm:pt>
    <dgm:pt modelId="{237B9FE2-AD6C-450A-ADE8-344B07D23571}" type="sibTrans" cxnId="{212CF0D1-371C-4E47-87CE-57A668EA09B9}">
      <dgm:prSet/>
      <dgm:spPr/>
    </dgm:pt>
    <dgm:pt modelId="{9C61D4A7-C157-4088-B6A2-D386C6C72A95}" type="pres">
      <dgm:prSet presAssocID="{ECE9D5B9-13DA-4F72-8792-75477F047E20}" presName="linearFlow" presStyleCnt="0">
        <dgm:presLayoutVars>
          <dgm:dir/>
          <dgm:animLvl val="lvl"/>
          <dgm:resizeHandles val="exact"/>
        </dgm:presLayoutVars>
      </dgm:prSet>
      <dgm:spPr/>
    </dgm:pt>
    <dgm:pt modelId="{1C6426AF-6AFB-4C88-BB29-5DCBAAB4C185}" type="pres">
      <dgm:prSet presAssocID="{410996A3-1876-427B-8619-01EF74A1376F}" presName="composite" presStyleCnt="0"/>
      <dgm:spPr/>
    </dgm:pt>
    <dgm:pt modelId="{AB3CBB1F-C36C-4DEB-9057-AC05407B727C}" type="pres">
      <dgm:prSet presAssocID="{410996A3-1876-427B-8619-01EF74A1376F}" presName="parTx" presStyleLbl="node1" presStyleIdx="0" presStyleCnt="7">
        <dgm:presLayoutVars>
          <dgm:chMax val="0"/>
          <dgm:chPref val="0"/>
          <dgm:bulletEnabled val="1"/>
        </dgm:presLayoutVars>
      </dgm:prSet>
      <dgm:spPr/>
    </dgm:pt>
    <dgm:pt modelId="{EC76202D-D323-4EE6-ABB9-A9FA60E80F8C}" type="pres">
      <dgm:prSet presAssocID="{410996A3-1876-427B-8619-01EF74A1376F}" presName="parSh" presStyleLbl="node1" presStyleIdx="0" presStyleCnt="7"/>
      <dgm:spPr/>
    </dgm:pt>
    <dgm:pt modelId="{E40F0E7A-993D-4041-A251-354FCE16B30B}" type="pres">
      <dgm:prSet presAssocID="{410996A3-1876-427B-8619-01EF74A1376F}" presName="desTx" presStyleLbl="fgAcc1" presStyleIdx="0" presStyleCnt="7">
        <dgm:presLayoutVars>
          <dgm:bulletEnabled val="1"/>
        </dgm:presLayoutVars>
      </dgm:prSet>
      <dgm:spPr/>
    </dgm:pt>
    <dgm:pt modelId="{5D635EA8-10A6-422F-B995-09083B642FBA}" type="pres">
      <dgm:prSet presAssocID="{0D332BCE-E91A-41AC-BE6C-8A94341D797E}" presName="sibTrans" presStyleLbl="sibTrans2D1" presStyleIdx="0" presStyleCnt="6"/>
      <dgm:spPr/>
    </dgm:pt>
    <dgm:pt modelId="{F3C74B67-F5C4-49A0-845A-3BB7B3913B81}" type="pres">
      <dgm:prSet presAssocID="{0D332BCE-E91A-41AC-BE6C-8A94341D797E}" presName="connTx" presStyleLbl="sibTrans2D1" presStyleIdx="0" presStyleCnt="6"/>
      <dgm:spPr/>
    </dgm:pt>
    <dgm:pt modelId="{2CDB1652-A4C9-4A4F-BC57-35AAE736824E}" type="pres">
      <dgm:prSet presAssocID="{7EE7E199-427B-4FC1-B825-C16DCF15F568}" presName="composite" presStyleCnt="0"/>
      <dgm:spPr/>
    </dgm:pt>
    <dgm:pt modelId="{EE138721-1D17-4D33-9ABD-65C91B632786}" type="pres">
      <dgm:prSet presAssocID="{7EE7E199-427B-4FC1-B825-C16DCF15F568}" presName="parTx" presStyleLbl="node1" presStyleIdx="0" presStyleCnt="7">
        <dgm:presLayoutVars>
          <dgm:chMax val="0"/>
          <dgm:chPref val="0"/>
          <dgm:bulletEnabled val="1"/>
        </dgm:presLayoutVars>
      </dgm:prSet>
      <dgm:spPr/>
    </dgm:pt>
    <dgm:pt modelId="{85F1690C-FAFE-48CB-B905-EA0A7CD33F92}" type="pres">
      <dgm:prSet presAssocID="{7EE7E199-427B-4FC1-B825-C16DCF15F568}" presName="parSh" presStyleLbl="node1" presStyleIdx="1" presStyleCnt="7"/>
      <dgm:spPr/>
    </dgm:pt>
    <dgm:pt modelId="{8345C4AC-F4A3-44E2-BEDB-008B54EEDDDA}" type="pres">
      <dgm:prSet presAssocID="{7EE7E199-427B-4FC1-B825-C16DCF15F568}" presName="desTx" presStyleLbl="fgAcc1" presStyleIdx="1" presStyleCnt="7">
        <dgm:presLayoutVars>
          <dgm:bulletEnabled val="1"/>
        </dgm:presLayoutVars>
      </dgm:prSet>
      <dgm:spPr/>
    </dgm:pt>
    <dgm:pt modelId="{94FFA2E1-7C10-436A-B8A5-20BFC134834A}" type="pres">
      <dgm:prSet presAssocID="{7A35305D-7192-4B71-B0AB-8176B2EF4033}" presName="sibTrans" presStyleLbl="sibTrans2D1" presStyleIdx="1" presStyleCnt="6"/>
      <dgm:spPr/>
    </dgm:pt>
    <dgm:pt modelId="{5D6F9A9A-2215-4F9B-B5D3-02D74CC669C5}" type="pres">
      <dgm:prSet presAssocID="{7A35305D-7192-4B71-B0AB-8176B2EF4033}" presName="connTx" presStyleLbl="sibTrans2D1" presStyleIdx="1" presStyleCnt="6"/>
      <dgm:spPr/>
    </dgm:pt>
    <dgm:pt modelId="{19A709A0-947B-4B72-ABA9-164D1C5145FF}" type="pres">
      <dgm:prSet presAssocID="{50081784-CBED-4272-8EBF-0630045AFC6A}" presName="composite" presStyleCnt="0"/>
      <dgm:spPr/>
    </dgm:pt>
    <dgm:pt modelId="{974247B1-9E10-4D6D-8B1C-ADE103ACBCB0}" type="pres">
      <dgm:prSet presAssocID="{50081784-CBED-4272-8EBF-0630045AFC6A}" presName="parTx" presStyleLbl="node1" presStyleIdx="1" presStyleCnt="7">
        <dgm:presLayoutVars>
          <dgm:chMax val="0"/>
          <dgm:chPref val="0"/>
          <dgm:bulletEnabled val="1"/>
        </dgm:presLayoutVars>
      </dgm:prSet>
      <dgm:spPr/>
    </dgm:pt>
    <dgm:pt modelId="{8D91895A-7E8A-47EB-914C-DC7BA27237BD}" type="pres">
      <dgm:prSet presAssocID="{50081784-CBED-4272-8EBF-0630045AFC6A}" presName="parSh" presStyleLbl="node1" presStyleIdx="2" presStyleCnt="7"/>
      <dgm:spPr/>
    </dgm:pt>
    <dgm:pt modelId="{57FCCDAE-DA77-403E-9B8E-A2CEBC7B0413}" type="pres">
      <dgm:prSet presAssocID="{50081784-CBED-4272-8EBF-0630045AFC6A}" presName="desTx" presStyleLbl="fgAcc1" presStyleIdx="2" presStyleCnt="7">
        <dgm:presLayoutVars>
          <dgm:bulletEnabled val="1"/>
        </dgm:presLayoutVars>
      </dgm:prSet>
      <dgm:spPr/>
    </dgm:pt>
    <dgm:pt modelId="{56A6E93E-4008-4675-A568-DF685CCC33AD}" type="pres">
      <dgm:prSet presAssocID="{F04D5BBA-6660-46FC-9EEA-801EF24AC057}" presName="sibTrans" presStyleLbl="sibTrans2D1" presStyleIdx="2" presStyleCnt="6"/>
      <dgm:spPr/>
    </dgm:pt>
    <dgm:pt modelId="{935ECE5C-84BD-46F4-B668-BD53B667CBFF}" type="pres">
      <dgm:prSet presAssocID="{F04D5BBA-6660-46FC-9EEA-801EF24AC057}" presName="connTx" presStyleLbl="sibTrans2D1" presStyleIdx="2" presStyleCnt="6"/>
      <dgm:spPr/>
    </dgm:pt>
    <dgm:pt modelId="{A45A3DE6-D682-4CF8-817E-90A23745CB46}" type="pres">
      <dgm:prSet presAssocID="{91D2A330-3EFD-4300-B60D-760A3D5678DA}" presName="composite" presStyleCnt="0"/>
      <dgm:spPr/>
    </dgm:pt>
    <dgm:pt modelId="{CF5C3824-7B58-4B09-9C57-F113616089B3}" type="pres">
      <dgm:prSet presAssocID="{91D2A330-3EFD-4300-B60D-760A3D5678DA}" presName="parTx" presStyleLbl="node1" presStyleIdx="2" presStyleCnt="7">
        <dgm:presLayoutVars>
          <dgm:chMax val="0"/>
          <dgm:chPref val="0"/>
          <dgm:bulletEnabled val="1"/>
        </dgm:presLayoutVars>
      </dgm:prSet>
      <dgm:spPr/>
    </dgm:pt>
    <dgm:pt modelId="{E8AE5047-E509-4DCB-A396-1C3EBD5CD2EB}" type="pres">
      <dgm:prSet presAssocID="{91D2A330-3EFD-4300-B60D-760A3D5678DA}" presName="parSh" presStyleLbl="node1" presStyleIdx="3" presStyleCnt="7"/>
      <dgm:spPr/>
    </dgm:pt>
    <dgm:pt modelId="{A97FDEAE-42D6-4932-B003-3838E6C12C8D}" type="pres">
      <dgm:prSet presAssocID="{91D2A330-3EFD-4300-B60D-760A3D5678DA}" presName="desTx" presStyleLbl="fgAcc1" presStyleIdx="3" presStyleCnt="7">
        <dgm:presLayoutVars>
          <dgm:bulletEnabled val="1"/>
        </dgm:presLayoutVars>
      </dgm:prSet>
      <dgm:spPr/>
    </dgm:pt>
    <dgm:pt modelId="{10A9DD78-D8C0-4C15-B31D-04492BC63783}" type="pres">
      <dgm:prSet presAssocID="{421B6D60-8544-4BA1-99BC-FFD7462FF518}" presName="sibTrans" presStyleLbl="sibTrans2D1" presStyleIdx="3" presStyleCnt="6"/>
      <dgm:spPr/>
    </dgm:pt>
    <dgm:pt modelId="{B2E325AB-0070-4BC1-B0AD-A041E0732C37}" type="pres">
      <dgm:prSet presAssocID="{421B6D60-8544-4BA1-99BC-FFD7462FF518}" presName="connTx" presStyleLbl="sibTrans2D1" presStyleIdx="3" presStyleCnt="6"/>
      <dgm:spPr/>
    </dgm:pt>
    <dgm:pt modelId="{CB6E7238-9A0C-4C75-9911-BD902ED1F850}" type="pres">
      <dgm:prSet presAssocID="{B92D5692-AC2F-41D6-A45E-79519340FCB7}" presName="composite" presStyleCnt="0"/>
      <dgm:spPr/>
    </dgm:pt>
    <dgm:pt modelId="{34499DC7-0147-4F3D-8218-1402BF9E54DD}" type="pres">
      <dgm:prSet presAssocID="{B92D5692-AC2F-41D6-A45E-79519340FCB7}" presName="parTx" presStyleLbl="node1" presStyleIdx="3" presStyleCnt="7">
        <dgm:presLayoutVars>
          <dgm:chMax val="0"/>
          <dgm:chPref val="0"/>
          <dgm:bulletEnabled val="1"/>
        </dgm:presLayoutVars>
      </dgm:prSet>
      <dgm:spPr/>
    </dgm:pt>
    <dgm:pt modelId="{5A86AF81-F0E6-4373-8A7D-BDA4B07D2DAF}" type="pres">
      <dgm:prSet presAssocID="{B92D5692-AC2F-41D6-A45E-79519340FCB7}" presName="parSh" presStyleLbl="node1" presStyleIdx="4" presStyleCnt="7"/>
      <dgm:spPr/>
    </dgm:pt>
    <dgm:pt modelId="{26A0B3C7-AB9A-48A7-A937-8CBCD9844C0D}" type="pres">
      <dgm:prSet presAssocID="{B92D5692-AC2F-41D6-A45E-79519340FCB7}" presName="desTx" presStyleLbl="fgAcc1" presStyleIdx="4" presStyleCnt="7">
        <dgm:presLayoutVars>
          <dgm:bulletEnabled val="1"/>
        </dgm:presLayoutVars>
      </dgm:prSet>
      <dgm:spPr/>
    </dgm:pt>
    <dgm:pt modelId="{D00FE85A-E0B4-40C4-B7C0-477B4AD6129E}" type="pres">
      <dgm:prSet presAssocID="{4556F937-B510-476F-A73A-293C9BBDFA8E}" presName="sibTrans" presStyleLbl="sibTrans2D1" presStyleIdx="4" presStyleCnt="6"/>
      <dgm:spPr/>
    </dgm:pt>
    <dgm:pt modelId="{9E21C4DE-40DE-437E-BAA7-790709A7101A}" type="pres">
      <dgm:prSet presAssocID="{4556F937-B510-476F-A73A-293C9BBDFA8E}" presName="connTx" presStyleLbl="sibTrans2D1" presStyleIdx="4" presStyleCnt="6"/>
      <dgm:spPr/>
    </dgm:pt>
    <dgm:pt modelId="{C68A7DA9-6460-4F04-9D54-633B48A1773D}" type="pres">
      <dgm:prSet presAssocID="{F5018F97-8871-4F2D-819E-E60BDB3C1281}" presName="composite" presStyleCnt="0"/>
      <dgm:spPr/>
    </dgm:pt>
    <dgm:pt modelId="{B1FDB664-83FF-4209-A451-BAFAF531CE16}" type="pres">
      <dgm:prSet presAssocID="{F5018F97-8871-4F2D-819E-E60BDB3C1281}" presName="parTx" presStyleLbl="node1" presStyleIdx="4" presStyleCnt="7">
        <dgm:presLayoutVars>
          <dgm:chMax val="0"/>
          <dgm:chPref val="0"/>
          <dgm:bulletEnabled val="1"/>
        </dgm:presLayoutVars>
      </dgm:prSet>
      <dgm:spPr/>
    </dgm:pt>
    <dgm:pt modelId="{5C5492E9-17CC-47D2-827F-95253AB5FF9E}" type="pres">
      <dgm:prSet presAssocID="{F5018F97-8871-4F2D-819E-E60BDB3C1281}" presName="parSh" presStyleLbl="node1" presStyleIdx="5" presStyleCnt="7"/>
      <dgm:spPr/>
    </dgm:pt>
    <dgm:pt modelId="{EC8DCAAE-6B1B-487A-B11E-98CC2DED24BE}" type="pres">
      <dgm:prSet presAssocID="{F5018F97-8871-4F2D-819E-E60BDB3C1281}" presName="desTx" presStyleLbl="fgAcc1" presStyleIdx="5" presStyleCnt="7">
        <dgm:presLayoutVars>
          <dgm:bulletEnabled val="1"/>
        </dgm:presLayoutVars>
      </dgm:prSet>
      <dgm:spPr/>
    </dgm:pt>
    <dgm:pt modelId="{B6E7F8A9-B232-4BDB-B055-325029E2EA58}" type="pres">
      <dgm:prSet presAssocID="{64B34F3D-07F7-41E0-A18F-E536DD4BD1E5}" presName="sibTrans" presStyleLbl="sibTrans2D1" presStyleIdx="5" presStyleCnt="6"/>
      <dgm:spPr/>
    </dgm:pt>
    <dgm:pt modelId="{B6E73310-BD2C-4A2B-98E8-9EDFC7FF6FCD}" type="pres">
      <dgm:prSet presAssocID="{64B34F3D-07F7-41E0-A18F-E536DD4BD1E5}" presName="connTx" presStyleLbl="sibTrans2D1" presStyleIdx="5" presStyleCnt="6"/>
      <dgm:spPr/>
    </dgm:pt>
    <dgm:pt modelId="{47DEE7FB-A537-4966-895B-4AF4A3FD3308}" type="pres">
      <dgm:prSet presAssocID="{75F0BA59-0335-4497-AD01-C187B3B51155}" presName="composite" presStyleCnt="0"/>
      <dgm:spPr/>
    </dgm:pt>
    <dgm:pt modelId="{3C4239B2-F24B-4E4F-8D04-A5F6BAB1C81D}" type="pres">
      <dgm:prSet presAssocID="{75F0BA59-0335-4497-AD01-C187B3B51155}" presName="parTx" presStyleLbl="node1" presStyleIdx="5" presStyleCnt="7">
        <dgm:presLayoutVars>
          <dgm:chMax val="0"/>
          <dgm:chPref val="0"/>
          <dgm:bulletEnabled val="1"/>
        </dgm:presLayoutVars>
      </dgm:prSet>
      <dgm:spPr/>
    </dgm:pt>
    <dgm:pt modelId="{07B7B8E1-D981-419A-933D-8CDFE13F065D}" type="pres">
      <dgm:prSet presAssocID="{75F0BA59-0335-4497-AD01-C187B3B51155}" presName="parSh" presStyleLbl="node1" presStyleIdx="6" presStyleCnt="7"/>
      <dgm:spPr/>
    </dgm:pt>
    <dgm:pt modelId="{6F4FD03D-6CFA-44F7-BC6C-08A27248FDF8}" type="pres">
      <dgm:prSet presAssocID="{75F0BA59-0335-4497-AD01-C187B3B51155}" presName="desTx" presStyleLbl="fgAcc1" presStyleIdx="6" presStyleCnt="7">
        <dgm:presLayoutVars>
          <dgm:bulletEnabled val="1"/>
        </dgm:presLayoutVars>
      </dgm:prSet>
      <dgm:spPr/>
    </dgm:pt>
  </dgm:ptLst>
  <dgm:cxnLst>
    <dgm:cxn modelId="{6510BA02-97DD-42BC-AD28-16359FD04852}" type="presOf" srcId="{F5018F97-8871-4F2D-819E-E60BDB3C1281}" destId="{B1FDB664-83FF-4209-A451-BAFAF531CE16}" srcOrd="0" destOrd="0" presId="urn:microsoft.com/office/officeart/2005/8/layout/process3"/>
    <dgm:cxn modelId="{0E759509-1D9D-4DE5-A6BC-09AD1B0A3544}" srcId="{ECE9D5B9-13DA-4F72-8792-75477F047E20}" destId="{B92D5692-AC2F-41D6-A45E-79519340FCB7}" srcOrd="4" destOrd="0" parTransId="{9F174E15-7B9F-4FCA-AB3D-19C5DC56986B}" sibTransId="{4556F937-B510-476F-A73A-293C9BBDFA8E}"/>
    <dgm:cxn modelId="{7FC6D30A-9C6D-45C9-B04B-87F1789D8266}" srcId="{75F0BA59-0335-4497-AD01-C187B3B51155}" destId="{1418A582-38F6-4835-83D0-5F5E356C8805}" srcOrd="1" destOrd="0" parTransId="{E6449A5C-93AB-49D3-92FF-B8E3EF702A0D}" sibTransId="{9B9C30FE-6A5B-48A7-B13A-43D4933430E2}"/>
    <dgm:cxn modelId="{ED657D0C-4110-4DBF-8E6F-F84F702D1FC4}" type="presOf" srcId="{44B1C0A7-8682-496E-8207-8762B3C88478}" destId="{26A0B3C7-AB9A-48A7-A937-8CBCD9844C0D}" srcOrd="0" destOrd="4" presId="urn:microsoft.com/office/officeart/2005/8/layout/process3"/>
    <dgm:cxn modelId="{F1A5F80C-F305-4460-ABC0-02D8F7BD81B5}" srcId="{410996A3-1876-427B-8619-01EF74A1376F}" destId="{2EEA74DD-0817-49AA-A3C4-0F588DAAD8B1}" srcOrd="2" destOrd="0" parTransId="{0C8AFDDF-61B7-4128-B448-828DF33B57C8}" sibTransId="{F45FDCB7-C59B-4AC4-8703-6E9671E0DA59}"/>
    <dgm:cxn modelId="{483D2110-9190-4016-A308-276FDF14E231}" type="presOf" srcId="{D64E8F69-660F-4E4E-94CA-8CC931A14734}" destId="{8345C4AC-F4A3-44E2-BEDB-008B54EEDDDA}" srcOrd="0" destOrd="1" presId="urn:microsoft.com/office/officeart/2005/8/layout/process3"/>
    <dgm:cxn modelId="{7812A016-0CE2-496E-86D8-F53BC01EA9EF}" type="presOf" srcId="{C8E95D4A-17AE-4B18-BA11-9493F6FEA2A9}" destId="{8345C4AC-F4A3-44E2-BEDB-008B54EEDDDA}" srcOrd="0" destOrd="5" presId="urn:microsoft.com/office/officeart/2005/8/layout/process3"/>
    <dgm:cxn modelId="{EBB9971B-E9F5-4E3D-B8F2-5BDC11676AC1}" type="presOf" srcId="{101B3EBF-49CD-4B2E-9725-A7D62D3FE0B0}" destId="{E40F0E7A-993D-4041-A251-354FCE16B30B}" srcOrd="0" destOrd="2" presId="urn:microsoft.com/office/officeart/2005/8/layout/process3"/>
    <dgm:cxn modelId="{8F25481C-3ADC-45E9-BD65-9B91185D8ACF}" type="presOf" srcId="{D89CF80B-C45C-4480-BE02-D49C1E1556D6}" destId="{E40F0E7A-993D-4041-A251-354FCE16B30B}" srcOrd="0" destOrd="4" presId="urn:microsoft.com/office/officeart/2005/8/layout/process3"/>
    <dgm:cxn modelId="{3684C01D-3EAD-4246-AFD3-1D869B71AE08}" type="presOf" srcId="{75F0BA59-0335-4497-AD01-C187B3B51155}" destId="{07B7B8E1-D981-419A-933D-8CDFE13F065D}" srcOrd="1" destOrd="0" presId="urn:microsoft.com/office/officeart/2005/8/layout/process3"/>
    <dgm:cxn modelId="{5A63CD1D-507A-46B4-B5CA-B4FBAFA2443F}" type="presOf" srcId="{0D332BCE-E91A-41AC-BE6C-8A94341D797E}" destId="{F3C74B67-F5C4-49A0-845A-3BB7B3913B81}" srcOrd="1" destOrd="0" presId="urn:microsoft.com/office/officeart/2005/8/layout/process3"/>
    <dgm:cxn modelId="{439C541E-5BC8-4927-9EFC-98E078F81C04}" srcId="{B92D5692-AC2F-41D6-A45E-79519340FCB7}" destId="{E7CA1E12-D3F9-4B60-8F62-CF7043175E47}" srcOrd="3" destOrd="0" parTransId="{AE788D89-936F-4586-998E-C39DE50DB6C3}" sibTransId="{20B5D08C-131E-4E24-A297-1E9E2E443FCE}"/>
    <dgm:cxn modelId="{EF67222A-2E4C-4A48-B44E-A8FCCCB2A91E}" srcId="{958E7EB4-97A1-4EA7-A93F-EC7592FC35AC}" destId="{101B3EBF-49CD-4B2E-9725-A7D62D3FE0B0}" srcOrd="0" destOrd="0" parTransId="{4AEA62E7-A3BD-4F40-B88D-519A22DFD53E}" sibTransId="{30C53E43-46D7-492C-A692-56B483D768FE}"/>
    <dgm:cxn modelId="{B7EF412A-EEFE-4D07-8726-5391237539D7}" type="presOf" srcId="{B613E137-A897-4E49-A95D-C078D4F48276}" destId="{6F4FD03D-6CFA-44F7-BC6C-08A27248FDF8}" srcOrd="0" destOrd="2" presId="urn:microsoft.com/office/officeart/2005/8/layout/process3"/>
    <dgm:cxn modelId="{DAB1542B-F3C6-4B24-962A-B36C28374B8A}" srcId="{50081784-CBED-4272-8EBF-0630045AFC6A}" destId="{2AEB8BFB-B201-4E80-9EF5-0D68A0ED6329}" srcOrd="1" destOrd="0" parTransId="{F3878078-BCE1-4602-A7E0-104BD3EE3E75}" sibTransId="{9A2A61DA-6344-4D98-A036-CA165561C9F8}"/>
    <dgm:cxn modelId="{583A9B31-C34E-4CFA-B708-0EA2C1546BC1}" type="presOf" srcId="{F04D5BBA-6660-46FC-9EEA-801EF24AC057}" destId="{935ECE5C-84BD-46F4-B668-BD53B667CBFF}" srcOrd="1" destOrd="0" presId="urn:microsoft.com/office/officeart/2005/8/layout/process3"/>
    <dgm:cxn modelId="{A1F6F132-CEE6-4D8B-A175-0A241665EC3B}" type="presOf" srcId="{06A886D3-0578-4AEA-9042-E6242B46E048}" destId="{8345C4AC-F4A3-44E2-BEDB-008B54EEDDDA}" srcOrd="0" destOrd="3" presId="urn:microsoft.com/office/officeart/2005/8/layout/process3"/>
    <dgm:cxn modelId="{D0A2BA33-D323-4268-961B-D064F75F7FDE}" srcId="{1A457646-D139-40CF-9EB5-1F5E55D14C98}" destId="{5F670846-2A49-457F-A424-58C2E3E65417}" srcOrd="0" destOrd="0" parTransId="{18867268-05B1-4CD5-84BB-2CC15D969B6A}" sibTransId="{34C28A3E-D8FC-45E9-831B-7386F8AB5FD6}"/>
    <dgm:cxn modelId="{B46B4B38-323D-47C3-B600-6A29565F3950}" type="presOf" srcId="{A321CD77-4E01-4413-B8A5-D674F2C86E2C}" destId="{A97FDEAE-42D6-4932-B003-3838E6C12C8D}" srcOrd="0" destOrd="0" presId="urn:microsoft.com/office/officeart/2005/8/layout/process3"/>
    <dgm:cxn modelId="{74F81939-6B73-4B4E-944A-ED905A23FD8F}" srcId="{ECE9D5B9-13DA-4F72-8792-75477F047E20}" destId="{75F0BA59-0335-4497-AD01-C187B3B51155}" srcOrd="6" destOrd="0" parTransId="{03BDB488-27D9-4008-A219-DCC85E91B10C}" sibTransId="{0ED668AB-A03E-4254-B655-9318FD37CBE1}"/>
    <dgm:cxn modelId="{925E9539-A9B7-447F-90FC-A87A0044453F}" type="presOf" srcId="{F628EDAC-DCF7-4FA8-83CC-B945CF6C45F5}" destId="{57FCCDAE-DA77-403E-9B8E-A2CEBC7B0413}" srcOrd="0" destOrd="4" presId="urn:microsoft.com/office/officeart/2005/8/layout/process3"/>
    <dgm:cxn modelId="{C6A9843A-46B6-4B97-A439-AE333E7F4115}" type="presOf" srcId="{B92D5692-AC2F-41D6-A45E-79519340FCB7}" destId="{34499DC7-0147-4F3D-8218-1402BF9E54DD}" srcOrd="0" destOrd="0" presId="urn:microsoft.com/office/officeart/2005/8/layout/process3"/>
    <dgm:cxn modelId="{EF4A5C3B-77CB-4DAF-AA86-74CF00470779}" type="presOf" srcId="{0B7AD4C9-C2CA-4CC9-8E6B-DC655B65F33E}" destId="{57FCCDAE-DA77-403E-9B8E-A2CEBC7B0413}" srcOrd="0" destOrd="5" presId="urn:microsoft.com/office/officeart/2005/8/layout/process3"/>
    <dgm:cxn modelId="{76DD183C-BDB0-478C-A7A3-FA21E9C6ECF5}" type="presOf" srcId="{E7CA1E12-D3F9-4B60-8F62-CF7043175E47}" destId="{26A0B3C7-AB9A-48A7-A937-8CBCD9844C0D}" srcOrd="0" destOrd="3" presId="urn:microsoft.com/office/officeart/2005/8/layout/process3"/>
    <dgm:cxn modelId="{C4EF073E-3043-4750-BB73-7242560325BC}" type="presOf" srcId="{916EF624-B5CC-4BA7-9D60-9D50464E2430}" destId="{57FCCDAE-DA77-403E-9B8E-A2CEBC7B0413}" srcOrd="0" destOrd="6" presId="urn:microsoft.com/office/officeart/2005/8/layout/process3"/>
    <dgm:cxn modelId="{109F7740-CE2C-4624-9CFE-6E6AA0B6BD9D}" srcId="{B92D5692-AC2F-41D6-A45E-79519340FCB7}" destId="{F3602643-27DD-494D-B6A3-50EDE142610E}" srcOrd="6" destOrd="0" parTransId="{4DA3A091-0B32-404D-A77E-A3AD2C9CD759}" sibTransId="{6688E361-E875-4C42-AA33-88F39F007CFE}"/>
    <dgm:cxn modelId="{656A3D5B-7D86-43EF-8195-CD272EC1DFAE}" type="presOf" srcId="{7A35305D-7192-4B71-B0AB-8176B2EF4033}" destId="{5D6F9A9A-2215-4F9B-B5D3-02D74CC669C5}" srcOrd="1" destOrd="0" presId="urn:microsoft.com/office/officeart/2005/8/layout/process3"/>
    <dgm:cxn modelId="{3E8EA45B-51C3-4460-8AA4-367DB0A087C2}" type="presOf" srcId="{4556F937-B510-476F-A73A-293C9BBDFA8E}" destId="{9E21C4DE-40DE-437E-BAA7-790709A7101A}" srcOrd="1" destOrd="0" presId="urn:microsoft.com/office/officeart/2005/8/layout/process3"/>
    <dgm:cxn modelId="{424DD85D-B37E-41AE-93AA-EE85DDD5B0B3}" type="presOf" srcId="{828A6A97-DAD1-4C20-A8DF-FE1D888A0B09}" destId="{E40F0E7A-993D-4041-A251-354FCE16B30B}" srcOrd="0" destOrd="6" presId="urn:microsoft.com/office/officeart/2005/8/layout/process3"/>
    <dgm:cxn modelId="{4338135F-FD46-4582-87E4-4720F0FD5911}" srcId="{ECE9D5B9-13DA-4F72-8792-75477F047E20}" destId="{91D2A330-3EFD-4300-B60D-760A3D5678DA}" srcOrd="3" destOrd="0" parTransId="{7253383F-8DA3-4742-875D-08E3DED0E68A}" sibTransId="{421B6D60-8544-4BA1-99BC-FFD7462FF518}"/>
    <dgm:cxn modelId="{E0208B41-FA5D-4AA1-8042-E8882902B077}" srcId="{50081784-CBED-4272-8EBF-0630045AFC6A}" destId="{F628EDAC-DCF7-4FA8-83CC-B945CF6C45F5}" srcOrd="4" destOrd="0" parTransId="{5957997F-5659-4373-A47B-24CB81C791F0}" sibTransId="{4CC06256-A475-40C8-A26E-FA0E562649E5}"/>
    <dgm:cxn modelId="{F6921D62-8665-4614-A59B-FA66767CDC48}" type="presOf" srcId="{5F670846-2A49-457F-A424-58C2E3E65417}" destId="{EC8DCAAE-6B1B-487A-B11E-98CC2DED24BE}" srcOrd="0" destOrd="2" presId="urn:microsoft.com/office/officeart/2005/8/layout/process3"/>
    <dgm:cxn modelId="{AF027246-AE3F-443A-B9BA-D2FC9FEE4BFE}" type="presOf" srcId="{7EE7E199-427B-4FC1-B825-C16DCF15F568}" destId="{85F1690C-FAFE-48CB-B905-EA0A7CD33F92}" srcOrd="1" destOrd="0" presId="urn:microsoft.com/office/officeart/2005/8/layout/process3"/>
    <dgm:cxn modelId="{EFBE2347-9C6D-4E75-9A1C-5688BE2BF30F}" type="presOf" srcId="{051DFEA8-AF56-4D20-95CD-AA2430564363}" destId="{6F4FD03D-6CFA-44F7-BC6C-08A27248FDF8}" srcOrd="0" destOrd="0" presId="urn:microsoft.com/office/officeart/2005/8/layout/process3"/>
    <dgm:cxn modelId="{3135894B-59FC-4052-9C6B-B9387060E179}" type="presOf" srcId="{5239F8CA-610A-4ADE-AD5C-AB36573281A7}" destId="{6F4FD03D-6CFA-44F7-BC6C-08A27248FDF8}" srcOrd="0" destOrd="3" presId="urn:microsoft.com/office/officeart/2005/8/layout/process3"/>
    <dgm:cxn modelId="{BBB4906C-4F8D-4D9B-995B-0A2F62177B36}" type="presOf" srcId="{DBABD9ED-9661-4F93-A727-C1A378C7A803}" destId="{E40F0E7A-993D-4041-A251-354FCE16B30B}" srcOrd="0" destOrd="7" presId="urn:microsoft.com/office/officeart/2005/8/layout/process3"/>
    <dgm:cxn modelId="{B532284E-0239-4FDD-AE43-60404DEFA562}" type="presOf" srcId="{50081784-CBED-4272-8EBF-0630045AFC6A}" destId="{8D91895A-7E8A-47EB-914C-DC7BA27237BD}" srcOrd="1" destOrd="0" presId="urn:microsoft.com/office/officeart/2005/8/layout/process3"/>
    <dgm:cxn modelId="{71607C50-4AD7-4B26-B5F0-BEB122EC364D}" srcId="{410996A3-1876-427B-8619-01EF74A1376F}" destId="{6F25E62D-2089-44EC-AEE9-31F33F5D002A}" srcOrd="0" destOrd="0" parTransId="{59735D78-5F32-4E17-A314-ACD5C0E6577C}" sibTransId="{590BBF68-4E86-4AFA-8966-2C9CB06A285C}"/>
    <dgm:cxn modelId="{6761E650-7416-48C7-A8E0-36A917582F6A}" type="presOf" srcId="{7C5D7B9E-C846-4363-8073-423FF12FD17E}" destId="{E40F0E7A-993D-4041-A251-354FCE16B30B}" srcOrd="0" destOrd="5" presId="urn:microsoft.com/office/officeart/2005/8/layout/process3"/>
    <dgm:cxn modelId="{B8813451-81FE-475A-8103-AB6800E60062}" type="presOf" srcId="{75F0BA59-0335-4497-AD01-C187B3B51155}" destId="{3C4239B2-F24B-4E4F-8D04-A5F6BAB1C81D}" srcOrd="0" destOrd="0" presId="urn:microsoft.com/office/officeart/2005/8/layout/process3"/>
    <dgm:cxn modelId="{B1C65771-4AA3-4E62-93D7-07B037E45B4A}" type="presOf" srcId="{1A457646-D139-40CF-9EB5-1F5E55D14C98}" destId="{EC8DCAAE-6B1B-487A-B11E-98CC2DED24BE}" srcOrd="0" destOrd="1" presId="urn:microsoft.com/office/officeart/2005/8/layout/process3"/>
    <dgm:cxn modelId="{5DCFE451-D8E6-4A3E-B666-7F835E435B97}" type="presOf" srcId="{1706C7F9-61BB-49FA-B00A-469449FA5DA1}" destId="{8345C4AC-F4A3-44E2-BEDB-008B54EEDDDA}" srcOrd="0" destOrd="4" presId="urn:microsoft.com/office/officeart/2005/8/layout/process3"/>
    <dgm:cxn modelId="{5F4EFB51-02E1-4E74-9865-4F820EC7ED11}" srcId="{7EE7E199-427B-4FC1-B825-C16DCF15F568}" destId="{3567D00F-9F9D-4E0C-A6A1-8576F4FD8CA2}" srcOrd="0" destOrd="0" parTransId="{0622CA02-530B-410D-9E90-9A0C4DD5FDE2}" sibTransId="{45891F2F-B20C-44F1-820C-B4604E1EC58A}"/>
    <dgm:cxn modelId="{CE8ECD72-3982-455E-B90C-1C7C23C72295}" srcId="{D64E8F69-660F-4E4E-94CA-8CC931A14734}" destId="{C8E95D4A-17AE-4B18-BA11-9493F6FEA2A9}" srcOrd="3" destOrd="0" parTransId="{6CEDF039-DCC0-4751-9DCE-D84870F8BAB9}" sibTransId="{C6F2503B-0E59-4EB5-A7CE-3402EF637388}"/>
    <dgm:cxn modelId="{2AF26056-3719-4842-A795-FFB4897FEE2A}" type="presOf" srcId="{64B34F3D-07F7-41E0-A18F-E536DD4BD1E5}" destId="{B6E7F8A9-B232-4BDB-B055-325029E2EA58}" srcOrd="0" destOrd="0" presId="urn:microsoft.com/office/officeart/2005/8/layout/process3"/>
    <dgm:cxn modelId="{0DC7B676-928D-4EB9-9677-97B03BBE6B0C}" srcId="{91D2A330-3EFD-4300-B60D-760A3D5678DA}" destId="{02BD8472-87D7-4273-B802-477A00CA1A66}" srcOrd="1" destOrd="0" parTransId="{587AD571-4760-48D3-96CE-AAA037E0200D}" sibTransId="{CCC90E03-E230-49A6-8E65-A0DE7DA6BAC4}"/>
    <dgm:cxn modelId="{A0264977-CA60-43FC-8B27-1BC8A66F3EF3}" type="presOf" srcId="{490C49C0-9CFC-4278-A51A-DC5868727DD6}" destId="{26A0B3C7-AB9A-48A7-A937-8CBCD9844C0D}" srcOrd="0" destOrd="1" presId="urn:microsoft.com/office/officeart/2005/8/layout/process3"/>
    <dgm:cxn modelId="{53360D78-1EFF-4072-848F-964E581B3E16}" srcId="{ECE9D5B9-13DA-4F72-8792-75477F047E20}" destId="{410996A3-1876-427B-8619-01EF74A1376F}" srcOrd="0" destOrd="0" parTransId="{B84D6E03-D3D1-4316-80CD-DFBE2F92709C}" sibTransId="{0D332BCE-E91A-41AC-BE6C-8A94341D797E}"/>
    <dgm:cxn modelId="{C0B42E58-34FE-4A71-ADF3-4A5F41ABCA97}" type="presOf" srcId="{2EEA74DD-0817-49AA-A3C4-0F588DAAD8B1}" destId="{E40F0E7A-993D-4041-A251-354FCE16B30B}" srcOrd="0" destOrd="8" presId="urn:microsoft.com/office/officeart/2005/8/layout/process3"/>
    <dgm:cxn modelId="{15D5C459-9962-4F22-AA86-6633889C220F}" srcId="{F5018F97-8871-4F2D-819E-E60BDB3C1281}" destId="{1A457646-D139-40CF-9EB5-1F5E55D14C98}" srcOrd="1" destOrd="0" parTransId="{ACC891FD-4459-4F09-8115-B9CF75202B63}" sibTransId="{894922C3-19D0-43D6-A7F8-1F827409AE07}"/>
    <dgm:cxn modelId="{5C61E759-2D37-454F-9F75-0242E4E9BA9D}" type="presOf" srcId="{814F4D26-41F9-4CD1-9B5B-4319828E42D8}" destId="{A97FDEAE-42D6-4932-B003-3838E6C12C8D}" srcOrd="0" destOrd="2" presId="urn:microsoft.com/office/officeart/2005/8/layout/process3"/>
    <dgm:cxn modelId="{1061FA59-8945-4D81-B981-7D803F7EC195}" srcId="{ECE9D5B9-13DA-4F72-8792-75477F047E20}" destId="{7EE7E199-427B-4FC1-B825-C16DCF15F568}" srcOrd="1" destOrd="0" parTransId="{E6011DA0-9736-47E3-B44B-90FCA3AB6900}" sibTransId="{7A35305D-7192-4B71-B0AB-8176B2EF4033}"/>
    <dgm:cxn modelId="{1A27E87E-178E-4885-874F-38FFBCBDF8E0}" type="presOf" srcId="{D3171BDF-1AEF-4492-BED3-6389611231A9}" destId="{26A0B3C7-AB9A-48A7-A937-8CBCD9844C0D}" srcOrd="0" destOrd="0" presId="urn:microsoft.com/office/officeart/2005/8/layout/process3"/>
    <dgm:cxn modelId="{2C1AFD80-4D33-40E2-A9F3-143BF4748E7A}" srcId="{5239F8CA-610A-4ADE-AD5C-AB36573281A7}" destId="{24685C9A-7CCD-4D86-B883-DB696A7EA744}" srcOrd="0" destOrd="0" parTransId="{D8257248-1521-475C-AA9D-F59E7563338D}" sibTransId="{10CBC2EE-F6DE-442B-836B-8F4B72F639E8}"/>
    <dgm:cxn modelId="{E6614881-25C8-4352-AC49-387187F50028}" srcId="{F5018F97-8871-4F2D-819E-E60BDB3C1281}" destId="{4FA7543C-8B0D-49C7-B8E1-1E31E7997EAF}" srcOrd="0" destOrd="0" parTransId="{FFDB8D8C-199E-4006-8881-88BDE50593AD}" sibTransId="{95B665CF-81C9-4706-9A3F-CD5F58BBE2E1}"/>
    <dgm:cxn modelId="{4C8C5A84-62E4-4B8D-81CD-3BB6CD50A083}" type="presOf" srcId="{F5018F97-8871-4F2D-819E-E60BDB3C1281}" destId="{5C5492E9-17CC-47D2-827F-95253AB5FF9E}" srcOrd="1" destOrd="0" presId="urn:microsoft.com/office/officeart/2005/8/layout/process3"/>
    <dgm:cxn modelId="{DB32D385-51A8-4F5A-A414-FEF7F1B741F5}" type="presOf" srcId="{91D2A330-3EFD-4300-B60D-760A3D5678DA}" destId="{CF5C3824-7B58-4B09-9C57-F113616089B3}" srcOrd="0" destOrd="0" presId="urn:microsoft.com/office/officeart/2005/8/layout/process3"/>
    <dgm:cxn modelId="{EBAF1C86-D157-424A-A534-935B6BD7596C}" srcId="{50081784-CBED-4272-8EBF-0630045AFC6A}" destId="{AE870AF8-ABE5-4A26-83E4-F4866440CFC5}" srcOrd="0" destOrd="0" parTransId="{41536802-7BB1-4723-9E1C-B27615648BE4}" sibTransId="{E1A66384-0FB7-44CE-AB01-73CDD6617AB4}"/>
    <dgm:cxn modelId="{97369186-6DC5-4EFC-875A-E02A68C3CF2F}" srcId="{B92D5692-AC2F-41D6-A45E-79519340FCB7}" destId="{44B1C0A7-8682-496E-8207-8762B3C88478}" srcOrd="4" destOrd="0" parTransId="{B91F4CFD-CA7F-4736-AAC6-6A000555593D}" sibTransId="{A39483FE-1ED8-4B2D-B2C5-D22C50FD2CD0}"/>
    <dgm:cxn modelId="{25442F87-AC67-4AAF-AC29-BDB4C78F60FB}" srcId="{0B7AD4C9-C2CA-4CC9-8E6B-DC655B65F33E}" destId="{916EF624-B5CC-4BA7-9D60-9D50464E2430}" srcOrd="0" destOrd="0" parTransId="{85B62702-79F5-426E-B44B-52BEAD16F30E}" sibTransId="{448FC78B-FC6E-4A46-AE41-0C2FDB2ED459}"/>
    <dgm:cxn modelId="{71A66C8C-0C05-4207-8575-002FE4A73733}" type="presOf" srcId="{6345A572-43E9-4B75-B53F-B49FDD3F7B42}" destId="{E40F0E7A-993D-4041-A251-354FCE16B30B}" srcOrd="0" destOrd="3" presId="urn:microsoft.com/office/officeart/2005/8/layout/process3"/>
    <dgm:cxn modelId="{0E87CF8E-BCAD-4D0B-B6F0-135087F36641}" type="presOf" srcId="{07118542-99B4-4AE5-B2BF-8B4D81439501}" destId="{57FCCDAE-DA77-403E-9B8E-A2CEBC7B0413}" srcOrd="0" destOrd="2" presId="urn:microsoft.com/office/officeart/2005/8/layout/process3"/>
    <dgm:cxn modelId="{62B3B591-87B8-4772-ACAF-D1D2ADE9AA50}" type="presOf" srcId="{958E7EB4-97A1-4EA7-A93F-EC7592FC35AC}" destId="{E40F0E7A-993D-4041-A251-354FCE16B30B}" srcOrd="0" destOrd="1" presId="urn:microsoft.com/office/officeart/2005/8/layout/process3"/>
    <dgm:cxn modelId="{67A55A92-353F-4338-A449-E4E00DC8DCA6}" type="presOf" srcId="{7EE7E199-427B-4FC1-B825-C16DCF15F568}" destId="{EE138721-1D17-4D33-9ABD-65C91B632786}" srcOrd="0" destOrd="0" presId="urn:microsoft.com/office/officeart/2005/8/layout/process3"/>
    <dgm:cxn modelId="{4ECB2D93-8382-4462-B4FF-C792DFF120B4}" type="presOf" srcId="{91D2A330-3EFD-4300-B60D-760A3D5678DA}" destId="{E8AE5047-E509-4DCB-A396-1C3EBD5CD2EB}" srcOrd="1" destOrd="0" presId="urn:microsoft.com/office/officeart/2005/8/layout/process3"/>
    <dgm:cxn modelId="{55A4FF93-8C9D-4E42-9787-2AF03E9440C7}" srcId="{75F0BA59-0335-4497-AD01-C187B3B51155}" destId="{5239F8CA-610A-4ADE-AD5C-AB36573281A7}" srcOrd="3" destOrd="0" parTransId="{FB51A4E0-D316-478D-815F-464AFA68BE92}" sibTransId="{9D22A8FA-3EE7-438F-B03E-D3FDB2A40000}"/>
    <dgm:cxn modelId="{CAB93795-01D5-477D-948E-AE8BCCC70C14}" type="presOf" srcId="{4FA7543C-8B0D-49C7-B8E1-1E31E7997EAF}" destId="{EC8DCAAE-6B1B-487A-B11E-98CC2DED24BE}" srcOrd="0" destOrd="0" presId="urn:microsoft.com/office/officeart/2005/8/layout/process3"/>
    <dgm:cxn modelId="{3ACD6696-DE9D-4606-AC8E-F0EB81D9693B}" srcId="{958E7EB4-97A1-4EA7-A93F-EC7592FC35AC}" destId="{6345A572-43E9-4B75-B53F-B49FDD3F7B42}" srcOrd="1" destOrd="0" parTransId="{4D0FE67F-3155-4C88-AE63-C65C23CED596}" sibTransId="{CA1B6A4E-2200-4F69-A325-D18928C603E3}"/>
    <dgm:cxn modelId="{3A18399C-8217-4AD7-AFB9-4FC06DC9DCFB}" type="presOf" srcId="{B92D5692-AC2F-41D6-A45E-79519340FCB7}" destId="{5A86AF81-F0E6-4373-8A7D-BDA4B07D2DAF}" srcOrd="1" destOrd="0" presId="urn:microsoft.com/office/officeart/2005/8/layout/process3"/>
    <dgm:cxn modelId="{6E95749D-41E7-4236-BBAC-CF42C57AD124}" srcId="{958E7EB4-97A1-4EA7-A93F-EC7592FC35AC}" destId="{828A6A97-DAD1-4C20-A8DF-FE1D888A0B09}" srcOrd="4" destOrd="0" parTransId="{A1D9C5E7-8102-4AF0-BA1F-A3BF6365CB99}" sibTransId="{8A3BE89B-F8A3-4833-983A-157E3FA97FEC}"/>
    <dgm:cxn modelId="{F1B410A1-DD96-45E3-B045-CB2A7115D4B0}" srcId="{B92D5692-AC2F-41D6-A45E-79519340FCB7}" destId="{4A01D40A-EEAB-49F7-85B3-B8D831490A44}" srcOrd="5" destOrd="0" parTransId="{0B12295A-19DF-4BAD-AFA0-2A1B96D68B5E}" sibTransId="{DACC9AE4-BD7A-4E84-8B90-434308D9B9ED}"/>
    <dgm:cxn modelId="{AA79AFA2-42D4-4E1A-B959-CBDF55839862}" type="presOf" srcId="{2AEB8BFB-B201-4E80-9EF5-0D68A0ED6329}" destId="{57FCCDAE-DA77-403E-9B8E-A2CEBC7B0413}" srcOrd="0" destOrd="1" presId="urn:microsoft.com/office/officeart/2005/8/layout/process3"/>
    <dgm:cxn modelId="{010749A3-A3B6-49D1-8F12-62555CE578A7}" srcId="{D64E8F69-660F-4E4E-94CA-8CC931A14734}" destId="{06A886D3-0578-4AEA-9042-E6242B46E048}" srcOrd="1" destOrd="0" parTransId="{5E8BF8B6-DB3E-423C-B0E1-FDE0B5A22685}" sibTransId="{66DD06B9-6D3D-4B57-BE3C-042F2F810ED1}"/>
    <dgm:cxn modelId="{6D61DCA9-77DA-40E9-9185-B1AC8EFA8590}" type="presOf" srcId="{CCA3B98F-7B14-4209-8A06-43641A97A037}" destId="{57FCCDAE-DA77-403E-9B8E-A2CEBC7B0413}" srcOrd="0" destOrd="3" presId="urn:microsoft.com/office/officeart/2005/8/layout/process3"/>
    <dgm:cxn modelId="{33F7DEA9-41E9-4653-BB63-BC9B0D750B6D}" type="presOf" srcId="{F04D5BBA-6660-46FC-9EEA-801EF24AC057}" destId="{56A6E93E-4008-4675-A568-DF685CCC33AD}" srcOrd="0" destOrd="0" presId="urn:microsoft.com/office/officeart/2005/8/layout/process3"/>
    <dgm:cxn modelId="{363382AA-A975-4C33-87EC-CFB592D9700F}" srcId="{50081784-CBED-4272-8EBF-0630045AFC6A}" destId="{07118542-99B4-4AE5-B2BF-8B4D81439501}" srcOrd="2" destOrd="0" parTransId="{3571E3B1-FA65-4BEC-AEED-E1FAF59DE1DE}" sibTransId="{55DD04B8-40BD-4A09-AD34-44A944E33292}"/>
    <dgm:cxn modelId="{04C778AB-C1A5-403E-A999-1A0A526DA856}" srcId="{D64E8F69-660F-4E4E-94CA-8CC931A14734}" destId="{318927E0-508E-4C15-A91C-925A55ADF7D0}" srcOrd="0" destOrd="0" parTransId="{2D121D5C-F048-4545-A21A-F802551F1431}" sibTransId="{EE9C7748-7F21-4238-AF0B-8479DA6305F1}"/>
    <dgm:cxn modelId="{6A46BBAB-BC8B-4C1D-BB27-3F27BC90B426}" srcId="{B92D5692-AC2F-41D6-A45E-79519340FCB7}" destId="{490C49C0-9CFC-4278-A51A-DC5868727DD6}" srcOrd="1" destOrd="0" parTransId="{AF1BC8A3-BE7A-4C60-9C48-2A2767AA4A19}" sibTransId="{B4D4B625-CF6C-4B24-9549-589CC628214E}"/>
    <dgm:cxn modelId="{EC2F13AC-D91D-4A9C-9603-60E9658DFE4B}" srcId="{958E7EB4-97A1-4EA7-A93F-EC7592FC35AC}" destId="{7C5D7B9E-C846-4363-8073-423FF12FD17E}" srcOrd="3" destOrd="0" parTransId="{EB8AB19B-47DE-4BE0-89C7-28E3FB214864}" sibTransId="{92AA6177-AF2C-4F82-85C3-E55D07F72A03}"/>
    <dgm:cxn modelId="{486090B4-154B-48BB-85EE-34266FBE1005}" type="presOf" srcId="{24685C9A-7CCD-4D86-B883-DB696A7EA744}" destId="{6F4FD03D-6CFA-44F7-BC6C-08A27248FDF8}" srcOrd="0" destOrd="4" presId="urn:microsoft.com/office/officeart/2005/8/layout/process3"/>
    <dgm:cxn modelId="{1B92D8B4-025B-4C90-971B-89FCF72848E7}" type="presOf" srcId="{F3602643-27DD-494D-B6A3-50EDE142610E}" destId="{26A0B3C7-AB9A-48A7-A937-8CBCD9844C0D}" srcOrd="0" destOrd="7" presId="urn:microsoft.com/office/officeart/2005/8/layout/process3"/>
    <dgm:cxn modelId="{B9991EB9-605C-490B-B3CB-0B80DFC6AE8F}" srcId="{50081784-CBED-4272-8EBF-0630045AFC6A}" destId="{0B7AD4C9-C2CA-4CC9-8E6B-DC655B65F33E}" srcOrd="5" destOrd="0" parTransId="{AF931C29-A299-4548-BC0A-67762328719B}" sibTransId="{D370BC12-4E96-4DE8-BF99-1A872495FA57}"/>
    <dgm:cxn modelId="{285BB5B9-F7E6-4EAC-AD20-D0AD0D32F1B8}" type="presOf" srcId="{421B6D60-8544-4BA1-99BC-FFD7462FF518}" destId="{10A9DD78-D8C0-4C15-B31D-04492BC63783}" srcOrd="0" destOrd="0" presId="urn:microsoft.com/office/officeart/2005/8/layout/process3"/>
    <dgm:cxn modelId="{87D7B0BB-B423-4946-9E66-277F18A24DE7}" srcId="{B92D5692-AC2F-41D6-A45E-79519340FCB7}" destId="{C544D5C2-E6C6-4537-BABA-A2B7CACF9D35}" srcOrd="2" destOrd="0" parTransId="{957C1D69-B769-4121-9E53-0A07228623D5}" sibTransId="{239402BD-3C6E-49F9-94C2-1042689DCF10}"/>
    <dgm:cxn modelId="{C33C09BE-5737-4B66-A84A-2BCDDF3B738B}" type="presOf" srcId="{6F25E62D-2089-44EC-AEE9-31F33F5D002A}" destId="{E40F0E7A-993D-4041-A251-354FCE16B30B}" srcOrd="0" destOrd="0" presId="urn:microsoft.com/office/officeart/2005/8/layout/process3"/>
    <dgm:cxn modelId="{57367DC0-FB37-44E6-8471-D6A6D19C7BD6}" type="presOf" srcId="{1418A582-38F6-4835-83D0-5F5E356C8805}" destId="{6F4FD03D-6CFA-44F7-BC6C-08A27248FDF8}" srcOrd="0" destOrd="1" presId="urn:microsoft.com/office/officeart/2005/8/layout/process3"/>
    <dgm:cxn modelId="{568CD2C0-EE54-46D1-913D-335512EDC12F}" type="presOf" srcId="{410996A3-1876-427B-8619-01EF74A1376F}" destId="{AB3CBB1F-C36C-4DEB-9057-AC05407B727C}" srcOrd="0" destOrd="0" presId="urn:microsoft.com/office/officeart/2005/8/layout/process3"/>
    <dgm:cxn modelId="{6B757DC4-8CB1-4E50-88EE-111B5F8B1691}" srcId="{75F0BA59-0335-4497-AD01-C187B3B51155}" destId="{B613E137-A897-4E49-A95D-C078D4F48276}" srcOrd="2" destOrd="0" parTransId="{FF96B7AE-8A17-44F0-B4B3-A6B15A62CB06}" sibTransId="{5E77A717-6CB8-4A40-B8B3-7793D70CB052}"/>
    <dgm:cxn modelId="{34940EC6-0E1A-42A7-8AB8-D3AED38A1189}" type="presOf" srcId="{64B34F3D-07F7-41E0-A18F-E536DD4BD1E5}" destId="{B6E73310-BD2C-4A2B-98E8-9EDFC7FF6FCD}" srcOrd="1" destOrd="0" presId="urn:microsoft.com/office/officeart/2005/8/layout/process3"/>
    <dgm:cxn modelId="{40A910C6-A30A-4FF2-B938-7C4A84193438}" type="presOf" srcId="{0D332BCE-E91A-41AC-BE6C-8A94341D797E}" destId="{5D635EA8-10A6-422F-B995-09083B642FBA}" srcOrd="0" destOrd="0" presId="urn:microsoft.com/office/officeart/2005/8/layout/process3"/>
    <dgm:cxn modelId="{6F8B9AC8-0936-426B-B52C-6589082FA4A3}" srcId="{75F0BA59-0335-4497-AD01-C187B3B51155}" destId="{051DFEA8-AF56-4D20-95CD-AA2430564363}" srcOrd="0" destOrd="0" parTransId="{B3A9884E-137F-4252-9F19-632D68364E4D}" sibTransId="{7756BBB0-6168-4347-96F2-DB6AAD6ABA5B}"/>
    <dgm:cxn modelId="{1952BCC8-F3BC-408B-AFB9-C794A21046EC}" srcId="{ECE9D5B9-13DA-4F72-8792-75477F047E20}" destId="{50081784-CBED-4272-8EBF-0630045AFC6A}" srcOrd="2" destOrd="0" parTransId="{3698F50F-D66C-4D38-B9D4-3A563307CFC3}" sibTransId="{F04D5BBA-6660-46FC-9EEA-801EF24AC057}"/>
    <dgm:cxn modelId="{849024CC-DBF0-4E84-AAEC-2205BE4967C1}" srcId="{7EE7E199-427B-4FC1-B825-C16DCF15F568}" destId="{D64E8F69-660F-4E4E-94CA-8CC931A14734}" srcOrd="1" destOrd="0" parTransId="{00D369FB-D475-4B87-8C7B-F081726A582C}" sibTransId="{64C7EFCC-28BD-44DC-80C5-0629DE5ED6B9}"/>
    <dgm:cxn modelId="{316E16CE-35F6-4A4D-80C3-FAD85BED3459}" type="presOf" srcId="{410996A3-1876-427B-8619-01EF74A1376F}" destId="{EC76202D-D323-4EE6-ABB9-A9FA60E80F8C}" srcOrd="1" destOrd="0" presId="urn:microsoft.com/office/officeart/2005/8/layout/process3"/>
    <dgm:cxn modelId="{212CF0D1-371C-4E47-87CE-57A668EA09B9}" srcId="{B92D5692-AC2F-41D6-A45E-79519340FCB7}" destId="{D3171BDF-1AEF-4492-BED3-6389611231A9}" srcOrd="0" destOrd="0" parTransId="{955B3EDC-BF97-4C7A-80ED-618A2A190036}" sibTransId="{237B9FE2-AD6C-450A-ADE8-344B07D23571}"/>
    <dgm:cxn modelId="{9A3F3AD3-55C9-4BB2-94E0-D9311C8959B7}" srcId="{4A01D40A-EEAB-49F7-85B3-B8D831490A44}" destId="{C10824D7-EE42-4016-B168-0647087F7B4B}" srcOrd="0" destOrd="0" parTransId="{3D058D66-4C6C-4F83-839F-D7A30B59D5C0}" sibTransId="{01AF0F3B-490F-49D2-AFE4-75E91CDF1570}"/>
    <dgm:cxn modelId="{CFB66BD6-178B-4B18-B343-D30F06970A13}" type="presOf" srcId="{AE870AF8-ABE5-4A26-83E4-F4866440CFC5}" destId="{57FCCDAE-DA77-403E-9B8E-A2CEBC7B0413}" srcOrd="0" destOrd="0" presId="urn:microsoft.com/office/officeart/2005/8/layout/process3"/>
    <dgm:cxn modelId="{4F3239D8-2431-4F2C-9FA2-9622332E3A11}" type="presOf" srcId="{318927E0-508E-4C15-A91C-925A55ADF7D0}" destId="{8345C4AC-F4A3-44E2-BEDB-008B54EEDDDA}" srcOrd="0" destOrd="2" presId="urn:microsoft.com/office/officeart/2005/8/layout/process3"/>
    <dgm:cxn modelId="{3E1C4BD8-15D2-41C5-8BE2-CB6C699F1C31}" type="presOf" srcId="{ECE9D5B9-13DA-4F72-8792-75477F047E20}" destId="{9C61D4A7-C157-4088-B6A2-D386C6C72A95}" srcOrd="0" destOrd="0" presId="urn:microsoft.com/office/officeart/2005/8/layout/process3"/>
    <dgm:cxn modelId="{71D84DD8-8380-4690-9209-C836FDEA844A}" type="presOf" srcId="{3567D00F-9F9D-4E0C-A6A1-8576F4FD8CA2}" destId="{8345C4AC-F4A3-44E2-BEDB-008B54EEDDDA}" srcOrd="0" destOrd="0" presId="urn:microsoft.com/office/officeart/2005/8/layout/process3"/>
    <dgm:cxn modelId="{501672DB-644B-43BD-B9DC-488CA0B563D6}" type="presOf" srcId="{02BD8472-87D7-4273-B802-477A00CA1A66}" destId="{A97FDEAE-42D6-4932-B003-3838E6C12C8D}" srcOrd="0" destOrd="1" presId="urn:microsoft.com/office/officeart/2005/8/layout/process3"/>
    <dgm:cxn modelId="{D9CF88DB-8F86-48F9-B4D5-BB7905758C8C}" srcId="{50081784-CBED-4272-8EBF-0630045AFC6A}" destId="{CCA3B98F-7B14-4209-8A06-43641A97A037}" srcOrd="3" destOrd="0" parTransId="{1C150E6C-4822-43E6-9A27-E823F52218FC}" sibTransId="{4FBA0D0C-9240-4C59-93CA-C8C68D411A7E}"/>
    <dgm:cxn modelId="{EDC4C7DE-8707-458E-B48D-3CD6767488BA}" type="presOf" srcId="{C10824D7-EE42-4016-B168-0647087F7B4B}" destId="{26A0B3C7-AB9A-48A7-A937-8CBCD9844C0D}" srcOrd="0" destOrd="6" presId="urn:microsoft.com/office/officeart/2005/8/layout/process3"/>
    <dgm:cxn modelId="{7A3FF6DE-3945-4201-974F-817330CF3C57}" srcId="{ECE9D5B9-13DA-4F72-8792-75477F047E20}" destId="{F5018F97-8871-4F2D-819E-E60BDB3C1281}" srcOrd="5" destOrd="0" parTransId="{773F52F3-3255-41F6-A3B0-2B09F9FE32FF}" sibTransId="{64B34F3D-07F7-41E0-A18F-E536DD4BD1E5}"/>
    <dgm:cxn modelId="{B6E240E0-47D4-4273-8025-B49303B5B88F}" srcId="{410996A3-1876-427B-8619-01EF74A1376F}" destId="{958E7EB4-97A1-4EA7-A93F-EC7592FC35AC}" srcOrd="1" destOrd="0" parTransId="{E957C203-056B-4C2F-A6CD-C1D2895677ED}" sibTransId="{0FB2CA78-CFFB-4309-8FDB-FD56FC39CFED}"/>
    <dgm:cxn modelId="{6EC925E5-E52F-41D3-A712-5A8D36C7D5BD}" type="presOf" srcId="{4A01D40A-EEAB-49F7-85B3-B8D831490A44}" destId="{26A0B3C7-AB9A-48A7-A937-8CBCD9844C0D}" srcOrd="0" destOrd="5" presId="urn:microsoft.com/office/officeart/2005/8/layout/process3"/>
    <dgm:cxn modelId="{361392E8-3ABA-4D2C-9E00-9EBE2D6253DF}" type="presOf" srcId="{50081784-CBED-4272-8EBF-0630045AFC6A}" destId="{974247B1-9E10-4D6D-8B1C-ADE103ACBCB0}" srcOrd="0" destOrd="0" presId="urn:microsoft.com/office/officeart/2005/8/layout/process3"/>
    <dgm:cxn modelId="{2F1A52EB-803B-44E2-9661-07084977A101}" srcId="{958E7EB4-97A1-4EA7-A93F-EC7592FC35AC}" destId="{DBABD9ED-9661-4F93-A727-C1A378C7A803}" srcOrd="5" destOrd="0" parTransId="{C2DA8160-CB50-4909-8831-6AF91F767AA8}" sibTransId="{E03EC33D-0BB5-4057-B0A2-2D5848F5AFE3}"/>
    <dgm:cxn modelId="{823E2FEE-1F9B-49E4-8DF7-67DF0F728C33}" type="presOf" srcId="{C544D5C2-E6C6-4537-BABA-A2B7CACF9D35}" destId="{26A0B3C7-AB9A-48A7-A937-8CBCD9844C0D}" srcOrd="0" destOrd="2" presId="urn:microsoft.com/office/officeart/2005/8/layout/process3"/>
    <dgm:cxn modelId="{32FE5CF0-25EA-4F18-A971-FBF9CB07F76F}" srcId="{02BD8472-87D7-4273-B802-477A00CA1A66}" destId="{814F4D26-41F9-4CD1-9B5B-4319828E42D8}" srcOrd="0" destOrd="0" parTransId="{E7B41AB5-5BBF-4030-AA02-24DD58230EE0}" sibTransId="{DC6D0941-5554-468D-8180-510474A4A917}"/>
    <dgm:cxn modelId="{EBC7EEF0-3D19-4FBC-AAF4-373EB8B7BF8C}" srcId="{91D2A330-3EFD-4300-B60D-760A3D5678DA}" destId="{A321CD77-4E01-4413-B8A5-D674F2C86E2C}" srcOrd="0" destOrd="0" parTransId="{15B190AB-80C8-49F1-BFB7-1DCEF9967F8E}" sibTransId="{5993B8C5-C5C1-4832-9E76-E7739B56EF69}"/>
    <dgm:cxn modelId="{A29E9BF2-9AC4-4BC4-BD5B-3A86012A722B}" type="presOf" srcId="{4556F937-B510-476F-A73A-293C9BBDFA8E}" destId="{D00FE85A-E0B4-40C4-B7C0-477B4AD6129E}" srcOrd="0" destOrd="0" presId="urn:microsoft.com/office/officeart/2005/8/layout/process3"/>
    <dgm:cxn modelId="{35BFAEF2-6F67-4873-8548-1CE9D0091D40}" type="presOf" srcId="{421B6D60-8544-4BA1-99BC-FFD7462FF518}" destId="{B2E325AB-0070-4BC1-B0AD-A041E0732C37}" srcOrd="1" destOrd="0" presId="urn:microsoft.com/office/officeart/2005/8/layout/process3"/>
    <dgm:cxn modelId="{50063AF4-D448-401B-858B-46E6C4C6D173}" srcId="{D64E8F69-660F-4E4E-94CA-8CC931A14734}" destId="{1706C7F9-61BB-49FA-B00A-469449FA5DA1}" srcOrd="2" destOrd="0" parTransId="{9CAB19EF-67D7-44BB-B845-15CFC4AF10EE}" sibTransId="{4F2A3FD0-B95E-4B8F-BEF3-18B5020D33CC}"/>
    <dgm:cxn modelId="{359350FA-E38B-4A92-9B3A-72525995CCC2}" srcId="{958E7EB4-97A1-4EA7-A93F-EC7592FC35AC}" destId="{D89CF80B-C45C-4480-BE02-D49C1E1556D6}" srcOrd="2" destOrd="0" parTransId="{B70BC225-2BA8-432F-BF04-67607C600228}" sibTransId="{6A5ECDB3-ACF6-4512-8DDB-F553ECE3BB99}"/>
    <dgm:cxn modelId="{CEE917FC-FD0B-4267-B9D8-CC9DB97DF94E}" type="presOf" srcId="{7A35305D-7192-4B71-B0AB-8176B2EF4033}" destId="{94FFA2E1-7C10-436A-B8A5-20BFC134834A}" srcOrd="0" destOrd="0" presId="urn:microsoft.com/office/officeart/2005/8/layout/process3"/>
    <dgm:cxn modelId="{45CDE8C5-B33F-4C10-B759-D4D8602ACD20}" type="presParOf" srcId="{9C61D4A7-C157-4088-B6A2-D386C6C72A95}" destId="{1C6426AF-6AFB-4C88-BB29-5DCBAAB4C185}" srcOrd="0" destOrd="0" presId="urn:microsoft.com/office/officeart/2005/8/layout/process3"/>
    <dgm:cxn modelId="{517B3204-5FE5-43AD-8DCC-EDFD5DE1BDBF}" type="presParOf" srcId="{1C6426AF-6AFB-4C88-BB29-5DCBAAB4C185}" destId="{AB3CBB1F-C36C-4DEB-9057-AC05407B727C}" srcOrd="0" destOrd="0" presId="urn:microsoft.com/office/officeart/2005/8/layout/process3"/>
    <dgm:cxn modelId="{04B1A5D5-91FB-4C6A-9124-CDCE093C0DA4}" type="presParOf" srcId="{1C6426AF-6AFB-4C88-BB29-5DCBAAB4C185}" destId="{EC76202D-D323-4EE6-ABB9-A9FA60E80F8C}" srcOrd="1" destOrd="0" presId="urn:microsoft.com/office/officeart/2005/8/layout/process3"/>
    <dgm:cxn modelId="{049B6B98-F914-42C9-B915-8042F965CDD4}" type="presParOf" srcId="{1C6426AF-6AFB-4C88-BB29-5DCBAAB4C185}" destId="{E40F0E7A-993D-4041-A251-354FCE16B30B}" srcOrd="2" destOrd="0" presId="urn:microsoft.com/office/officeart/2005/8/layout/process3"/>
    <dgm:cxn modelId="{D5EFB403-5A39-4111-9AA7-2B0EDD6EA772}" type="presParOf" srcId="{9C61D4A7-C157-4088-B6A2-D386C6C72A95}" destId="{5D635EA8-10A6-422F-B995-09083B642FBA}" srcOrd="1" destOrd="0" presId="urn:microsoft.com/office/officeart/2005/8/layout/process3"/>
    <dgm:cxn modelId="{ECBBEEF9-8810-454B-9516-4492EFFF05AE}" type="presParOf" srcId="{5D635EA8-10A6-422F-B995-09083B642FBA}" destId="{F3C74B67-F5C4-49A0-845A-3BB7B3913B81}" srcOrd="0" destOrd="0" presId="urn:microsoft.com/office/officeart/2005/8/layout/process3"/>
    <dgm:cxn modelId="{2ED921AC-3385-4964-9A19-9B3628260594}" type="presParOf" srcId="{9C61D4A7-C157-4088-B6A2-D386C6C72A95}" destId="{2CDB1652-A4C9-4A4F-BC57-35AAE736824E}" srcOrd="2" destOrd="0" presId="urn:microsoft.com/office/officeart/2005/8/layout/process3"/>
    <dgm:cxn modelId="{B5A89463-6D07-4760-87FB-DB6A4BD6BB01}" type="presParOf" srcId="{2CDB1652-A4C9-4A4F-BC57-35AAE736824E}" destId="{EE138721-1D17-4D33-9ABD-65C91B632786}" srcOrd="0" destOrd="0" presId="urn:microsoft.com/office/officeart/2005/8/layout/process3"/>
    <dgm:cxn modelId="{0A1AF34A-7357-44F3-8F95-A8EDA28B60CF}" type="presParOf" srcId="{2CDB1652-A4C9-4A4F-BC57-35AAE736824E}" destId="{85F1690C-FAFE-48CB-B905-EA0A7CD33F92}" srcOrd="1" destOrd="0" presId="urn:microsoft.com/office/officeart/2005/8/layout/process3"/>
    <dgm:cxn modelId="{4C3A4C35-92DE-4A95-94F8-FE6931221ECC}" type="presParOf" srcId="{2CDB1652-A4C9-4A4F-BC57-35AAE736824E}" destId="{8345C4AC-F4A3-44E2-BEDB-008B54EEDDDA}" srcOrd="2" destOrd="0" presId="urn:microsoft.com/office/officeart/2005/8/layout/process3"/>
    <dgm:cxn modelId="{EF80D1D1-2500-4369-8AE2-0232CED868B2}" type="presParOf" srcId="{9C61D4A7-C157-4088-B6A2-D386C6C72A95}" destId="{94FFA2E1-7C10-436A-B8A5-20BFC134834A}" srcOrd="3" destOrd="0" presId="urn:microsoft.com/office/officeart/2005/8/layout/process3"/>
    <dgm:cxn modelId="{A1C4930E-995D-491D-BEE8-B1BB1DE74783}" type="presParOf" srcId="{94FFA2E1-7C10-436A-B8A5-20BFC134834A}" destId="{5D6F9A9A-2215-4F9B-B5D3-02D74CC669C5}" srcOrd="0" destOrd="0" presId="urn:microsoft.com/office/officeart/2005/8/layout/process3"/>
    <dgm:cxn modelId="{7E852034-8A4C-4D1A-AB10-377FCA833F4F}" type="presParOf" srcId="{9C61D4A7-C157-4088-B6A2-D386C6C72A95}" destId="{19A709A0-947B-4B72-ABA9-164D1C5145FF}" srcOrd="4" destOrd="0" presId="urn:microsoft.com/office/officeart/2005/8/layout/process3"/>
    <dgm:cxn modelId="{157DBECD-8119-47DA-BFDF-EB8AEBE92470}" type="presParOf" srcId="{19A709A0-947B-4B72-ABA9-164D1C5145FF}" destId="{974247B1-9E10-4D6D-8B1C-ADE103ACBCB0}" srcOrd="0" destOrd="0" presId="urn:microsoft.com/office/officeart/2005/8/layout/process3"/>
    <dgm:cxn modelId="{342203EE-F8F0-4670-87F5-719BB856052C}" type="presParOf" srcId="{19A709A0-947B-4B72-ABA9-164D1C5145FF}" destId="{8D91895A-7E8A-47EB-914C-DC7BA27237BD}" srcOrd="1" destOrd="0" presId="urn:microsoft.com/office/officeart/2005/8/layout/process3"/>
    <dgm:cxn modelId="{8A0F183A-46B4-4ABA-9E92-A535BA9126E7}" type="presParOf" srcId="{19A709A0-947B-4B72-ABA9-164D1C5145FF}" destId="{57FCCDAE-DA77-403E-9B8E-A2CEBC7B0413}" srcOrd="2" destOrd="0" presId="urn:microsoft.com/office/officeart/2005/8/layout/process3"/>
    <dgm:cxn modelId="{A69F40ED-E5E4-4AC2-80A1-68ECD1941F36}" type="presParOf" srcId="{9C61D4A7-C157-4088-B6A2-D386C6C72A95}" destId="{56A6E93E-4008-4675-A568-DF685CCC33AD}" srcOrd="5" destOrd="0" presId="urn:microsoft.com/office/officeart/2005/8/layout/process3"/>
    <dgm:cxn modelId="{452E303A-6DB1-4265-9CED-EA014179D297}" type="presParOf" srcId="{56A6E93E-4008-4675-A568-DF685CCC33AD}" destId="{935ECE5C-84BD-46F4-B668-BD53B667CBFF}" srcOrd="0" destOrd="0" presId="urn:microsoft.com/office/officeart/2005/8/layout/process3"/>
    <dgm:cxn modelId="{5303ACE7-5FD7-4891-A4DF-F7867177D5F0}" type="presParOf" srcId="{9C61D4A7-C157-4088-B6A2-D386C6C72A95}" destId="{A45A3DE6-D682-4CF8-817E-90A23745CB46}" srcOrd="6" destOrd="0" presId="urn:microsoft.com/office/officeart/2005/8/layout/process3"/>
    <dgm:cxn modelId="{4BF0B949-78BB-4B8F-94C9-57EBA62243DB}" type="presParOf" srcId="{A45A3DE6-D682-4CF8-817E-90A23745CB46}" destId="{CF5C3824-7B58-4B09-9C57-F113616089B3}" srcOrd="0" destOrd="0" presId="urn:microsoft.com/office/officeart/2005/8/layout/process3"/>
    <dgm:cxn modelId="{B5CFC0F6-FD2B-4C27-8FFE-47852E28803D}" type="presParOf" srcId="{A45A3DE6-D682-4CF8-817E-90A23745CB46}" destId="{E8AE5047-E509-4DCB-A396-1C3EBD5CD2EB}" srcOrd="1" destOrd="0" presId="urn:microsoft.com/office/officeart/2005/8/layout/process3"/>
    <dgm:cxn modelId="{94DDB9AA-ADA9-4BC5-969D-0322B5FE3F5D}" type="presParOf" srcId="{A45A3DE6-D682-4CF8-817E-90A23745CB46}" destId="{A97FDEAE-42D6-4932-B003-3838E6C12C8D}" srcOrd="2" destOrd="0" presId="urn:microsoft.com/office/officeart/2005/8/layout/process3"/>
    <dgm:cxn modelId="{CE18545F-65B4-4D72-B335-7E4DAD81AF98}" type="presParOf" srcId="{9C61D4A7-C157-4088-B6A2-D386C6C72A95}" destId="{10A9DD78-D8C0-4C15-B31D-04492BC63783}" srcOrd="7" destOrd="0" presId="urn:microsoft.com/office/officeart/2005/8/layout/process3"/>
    <dgm:cxn modelId="{CB8D9A59-2BFC-455C-B311-C7A3257022A7}" type="presParOf" srcId="{10A9DD78-D8C0-4C15-B31D-04492BC63783}" destId="{B2E325AB-0070-4BC1-B0AD-A041E0732C37}" srcOrd="0" destOrd="0" presId="urn:microsoft.com/office/officeart/2005/8/layout/process3"/>
    <dgm:cxn modelId="{D60A4147-7D49-45BA-9D00-C5F6D00E6B8A}" type="presParOf" srcId="{9C61D4A7-C157-4088-B6A2-D386C6C72A95}" destId="{CB6E7238-9A0C-4C75-9911-BD902ED1F850}" srcOrd="8" destOrd="0" presId="urn:microsoft.com/office/officeart/2005/8/layout/process3"/>
    <dgm:cxn modelId="{94381562-CD68-4072-8209-1E5B12953478}" type="presParOf" srcId="{CB6E7238-9A0C-4C75-9911-BD902ED1F850}" destId="{34499DC7-0147-4F3D-8218-1402BF9E54DD}" srcOrd="0" destOrd="0" presId="urn:microsoft.com/office/officeart/2005/8/layout/process3"/>
    <dgm:cxn modelId="{0B8208D6-D969-4DA9-8B9C-6C4A664F88E6}" type="presParOf" srcId="{CB6E7238-9A0C-4C75-9911-BD902ED1F850}" destId="{5A86AF81-F0E6-4373-8A7D-BDA4B07D2DAF}" srcOrd="1" destOrd="0" presId="urn:microsoft.com/office/officeart/2005/8/layout/process3"/>
    <dgm:cxn modelId="{1D9C69CC-A566-461C-A2AC-F4EE0C622A97}" type="presParOf" srcId="{CB6E7238-9A0C-4C75-9911-BD902ED1F850}" destId="{26A0B3C7-AB9A-48A7-A937-8CBCD9844C0D}" srcOrd="2" destOrd="0" presId="urn:microsoft.com/office/officeart/2005/8/layout/process3"/>
    <dgm:cxn modelId="{54863D46-6AEE-4FE5-BB17-F744D0155073}" type="presParOf" srcId="{9C61D4A7-C157-4088-B6A2-D386C6C72A95}" destId="{D00FE85A-E0B4-40C4-B7C0-477B4AD6129E}" srcOrd="9" destOrd="0" presId="urn:microsoft.com/office/officeart/2005/8/layout/process3"/>
    <dgm:cxn modelId="{86011198-A084-40B4-8AA2-942D7DE4670A}" type="presParOf" srcId="{D00FE85A-E0B4-40C4-B7C0-477B4AD6129E}" destId="{9E21C4DE-40DE-437E-BAA7-790709A7101A}" srcOrd="0" destOrd="0" presId="urn:microsoft.com/office/officeart/2005/8/layout/process3"/>
    <dgm:cxn modelId="{0895A3F0-550C-46D9-A931-438AC8B3BBCC}" type="presParOf" srcId="{9C61D4A7-C157-4088-B6A2-D386C6C72A95}" destId="{C68A7DA9-6460-4F04-9D54-633B48A1773D}" srcOrd="10" destOrd="0" presId="urn:microsoft.com/office/officeart/2005/8/layout/process3"/>
    <dgm:cxn modelId="{EA302EC9-1047-4577-9633-DB75A0901E6E}" type="presParOf" srcId="{C68A7DA9-6460-4F04-9D54-633B48A1773D}" destId="{B1FDB664-83FF-4209-A451-BAFAF531CE16}" srcOrd="0" destOrd="0" presId="urn:microsoft.com/office/officeart/2005/8/layout/process3"/>
    <dgm:cxn modelId="{D5358137-C972-4DC9-A81E-78FEBA56CDBB}" type="presParOf" srcId="{C68A7DA9-6460-4F04-9D54-633B48A1773D}" destId="{5C5492E9-17CC-47D2-827F-95253AB5FF9E}" srcOrd="1" destOrd="0" presId="urn:microsoft.com/office/officeart/2005/8/layout/process3"/>
    <dgm:cxn modelId="{1E8F8B46-B186-4A12-9D3A-D36F3A4567E2}" type="presParOf" srcId="{C68A7DA9-6460-4F04-9D54-633B48A1773D}" destId="{EC8DCAAE-6B1B-487A-B11E-98CC2DED24BE}" srcOrd="2" destOrd="0" presId="urn:microsoft.com/office/officeart/2005/8/layout/process3"/>
    <dgm:cxn modelId="{1F5B8637-F40C-4BEE-A4CF-E02EAFF16F4A}" type="presParOf" srcId="{9C61D4A7-C157-4088-B6A2-D386C6C72A95}" destId="{B6E7F8A9-B232-4BDB-B055-325029E2EA58}" srcOrd="11" destOrd="0" presId="urn:microsoft.com/office/officeart/2005/8/layout/process3"/>
    <dgm:cxn modelId="{9851D989-E3B3-4738-ACE4-5D3D2DE81E28}" type="presParOf" srcId="{B6E7F8A9-B232-4BDB-B055-325029E2EA58}" destId="{B6E73310-BD2C-4A2B-98E8-9EDFC7FF6FCD}" srcOrd="0" destOrd="0" presId="urn:microsoft.com/office/officeart/2005/8/layout/process3"/>
    <dgm:cxn modelId="{416DA33D-CC6D-438B-B525-BAACA3850A2D}" type="presParOf" srcId="{9C61D4A7-C157-4088-B6A2-D386C6C72A95}" destId="{47DEE7FB-A537-4966-895B-4AF4A3FD3308}" srcOrd="12" destOrd="0" presId="urn:microsoft.com/office/officeart/2005/8/layout/process3"/>
    <dgm:cxn modelId="{FE027AE7-14D5-4713-AEF1-55C2699FC0DB}" type="presParOf" srcId="{47DEE7FB-A537-4966-895B-4AF4A3FD3308}" destId="{3C4239B2-F24B-4E4F-8D04-A5F6BAB1C81D}" srcOrd="0" destOrd="0" presId="urn:microsoft.com/office/officeart/2005/8/layout/process3"/>
    <dgm:cxn modelId="{CC887207-E4CD-451F-B3BB-4D08C0E55750}" type="presParOf" srcId="{47DEE7FB-A537-4966-895B-4AF4A3FD3308}" destId="{07B7B8E1-D981-419A-933D-8CDFE13F065D}" srcOrd="1" destOrd="0" presId="urn:microsoft.com/office/officeart/2005/8/layout/process3"/>
    <dgm:cxn modelId="{062AB12F-09B6-415D-903C-21ACBF0B45D3}" type="presParOf" srcId="{47DEE7FB-A537-4966-895B-4AF4A3FD3308}" destId="{6F4FD03D-6CFA-44F7-BC6C-08A27248FDF8}" srcOrd="2" destOrd="0" presId="urn:microsoft.com/office/officeart/2005/8/layout/process3"/>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76202D-D323-4EE6-ABB9-A9FA60E80F8C}">
      <dsp:nvSpPr>
        <dsp:cNvPr id="0" name=""/>
        <dsp:cNvSpPr/>
      </dsp:nvSpPr>
      <dsp:spPr>
        <a:xfrm>
          <a:off x="1255" y="170691"/>
          <a:ext cx="869019" cy="302400"/>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marL="0" lvl="0" indent="0" algn="l" defTabSz="311150">
            <a:lnSpc>
              <a:spcPct val="90000"/>
            </a:lnSpc>
            <a:spcBef>
              <a:spcPct val="0"/>
            </a:spcBef>
            <a:spcAft>
              <a:spcPct val="35000"/>
            </a:spcAft>
            <a:buNone/>
          </a:pPr>
          <a:r>
            <a:rPr lang="en-US" sz="700" kern="1200"/>
            <a:t>Block 1</a:t>
          </a:r>
        </a:p>
      </dsp:txBody>
      <dsp:txXfrm>
        <a:off x="1255" y="170691"/>
        <a:ext cx="869019" cy="201600"/>
      </dsp:txXfrm>
    </dsp:sp>
    <dsp:sp modelId="{E40F0E7A-993D-4041-A251-354FCE16B30B}">
      <dsp:nvSpPr>
        <dsp:cNvPr id="0" name=""/>
        <dsp:cNvSpPr/>
      </dsp:nvSpPr>
      <dsp:spPr>
        <a:xfrm>
          <a:off x="179247" y="372291"/>
          <a:ext cx="869019" cy="1360800"/>
        </a:xfrm>
        <a:prstGeom prst="roundRect">
          <a:avLst>
            <a:gd name="adj" fmla="val 10000"/>
          </a:avLst>
        </a:prstGeom>
        <a:solidFill>
          <a:schemeClr val="lt1">
            <a:alpha val="90000"/>
            <a:hueOff val="0"/>
            <a:satOff val="0"/>
            <a:lumOff val="0"/>
            <a:alphaOff val="0"/>
          </a:schemeClr>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en-US" sz="700" kern="1200" dirty="0"/>
            <a:t>Batch number</a:t>
          </a:r>
        </a:p>
        <a:p>
          <a:pPr marL="57150" lvl="1" indent="-57150" algn="l" defTabSz="311150">
            <a:lnSpc>
              <a:spcPct val="90000"/>
            </a:lnSpc>
            <a:spcBef>
              <a:spcPct val="0"/>
            </a:spcBef>
            <a:spcAft>
              <a:spcPct val="15000"/>
            </a:spcAft>
            <a:buChar char="•"/>
          </a:pPr>
          <a:r>
            <a:rPr lang="en-US" sz="700" kern="1200" dirty="0"/>
            <a:t>Certification of origin</a:t>
          </a:r>
        </a:p>
        <a:p>
          <a:pPr marL="114300" lvl="2" indent="-57150" algn="l" defTabSz="311150">
            <a:lnSpc>
              <a:spcPct val="90000"/>
            </a:lnSpc>
            <a:spcBef>
              <a:spcPct val="0"/>
            </a:spcBef>
            <a:spcAft>
              <a:spcPct val="15000"/>
            </a:spcAft>
            <a:buChar char="•"/>
          </a:pPr>
          <a:r>
            <a:rPr lang="en-US" sz="700" kern="1200" dirty="0"/>
            <a:t>Dry-fruits</a:t>
          </a:r>
        </a:p>
        <a:p>
          <a:pPr marL="114300" lvl="2" indent="-57150" algn="l" defTabSz="311150">
            <a:lnSpc>
              <a:spcPct val="90000"/>
            </a:lnSpc>
            <a:spcBef>
              <a:spcPct val="0"/>
            </a:spcBef>
            <a:spcAft>
              <a:spcPct val="15000"/>
            </a:spcAft>
            <a:buChar char="•"/>
          </a:pPr>
          <a:r>
            <a:rPr lang="en-US" sz="700" kern="1200" dirty="0"/>
            <a:t>Milk powder</a:t>
          </a:r>
        </a:p>
        <a:p>
          <a:pPr marL="114300" lvl="2" indent="-57150" algn="l" defTabSz="311150">
            <a:lnSpc>
              <a:spcPct val="90000"/>
            </a:lnSpc>
            <a:spcBef>
              <a:spcPct val="0"/>
            </a:spcBef>
            <a:spcAft>
              <a:spcPct val="15000"/>
            </a:spcAft>
            <a:buChar char="•"/>
          </a:pPr>
          <a:r>
            <a:rPr lang="en-US" sz="700" kern="1200" dirty="0"/>
            <a:t>Sugar</a:t>
          </a:r>
        </a:p>
        <a:p>
          <a:pPr marL="114300" lvl="2" indent="-57150" algn="l" defTabSz="311150">
            <a:lnSpc>
              <a:spcPct val="90000"/>
            </a:lnSpc>
            <a:spcBef>
              <a:spcPct val="0"/>
            </a:spcBef>
            <a:spcAft>
              <a:spcPct val="15000"/>
            </a:spcAft>
            <a:buChar char="•"/>
          </a:pPr>
          <a:r>
            <a:rPr lang="en-US" sz="700" kern="1200" dirty="0"/>
            <a:t>Flavorings</a:t>
          </a:r>
        </a:p>
        <a:p>
          <a:pPr marL="114300" lvl="2" indent="-57150" algn="l" defTabSz="311150">
            <a:lnSpc>
              <a:spcPct val="90000"/>
            </a:lnSpc>
            <a:spcBef>
              <a:spcPct val="0"/>
            </a:spcBef>
            <a:spcAft>
              <a:spcPct val="15000"/>
            </a:spcAft>
            <a:buChar char="•"/>
          </a:pPr>
          <a:r>
            <a:rPr lang="en-US" sz="700" b="0" i="0" kern="1200" dirty="0"/>
            <a:t>Approved additives</a:t>
          </a:r>
          <a:endParaRPr lang="en-US" sz="700" kern="1200" dirty="0"/>
        </a:p>
        <a:p>
          <a:pPr marL="114300" lvl="2" indent="-57150" algn="l" defTabSz="311150">
            <a:lnSpc>
              <a:spcPct val="90000"/>
            </a:lnSpc>
            <a:spcBef>
              <a:spcPct val="0"/>
            </a:spcBef>
            <a:spcAft>
              <a:spcPct val="15000"/>
            </a:spcAft>
            <a:buChar char="•"/>
          </a:pPr>
          <a:endParaRPr lang="en-US" sz="700" kern="1200" dirty="0"/>
        </a:p>
        <a:p>
          <a:pPr marL="57150" lvl="1" indent="-57150" algn="l" defTabSz="311150">
            <a:lnSpc>
              <a:spcPct val="90000"/>
            </a:lnSpc>
            <a:spcBef>
              <a:spcPct val="0"/>
            </a:spcBef>
            <a:spcAft>
              <a:spcPct val="15000"/>
            </a:spcAft>
            <a:buChar char="•"/>
          </a:pPr>
          <a:endParaRPr lang="en-US" sz="700" kern="1200" dirty="0"/>
        </a:p>
      </dsp:txBody>
      <dsp:txXfrm>
        <a:off x="204700" y="397744"/>
        <a:ext cx="818113" cy="1309894"/>
      </dsp:txXfrm>
    </dsp:sp>
    <dsp:sp modelId="{5D635EA8-10A6-422F-B995-09083B642FBA}">
      <dsp:nvSpPr>
        <dsp:cNvPr id="0" name=""/>
        <dsp:cNvSpPr/>
      </dsp:nvSpPr>
      <dsp:spPr>
        <a:xfrm>
          <a:off x="1002015" y="163311"/>
          <a:ext cx="279289" cy="216360"/>
        </a:xfrm>
        <a:prstGeom prst="rightArrow">
          <a:avLst>
            <a:gd name="adj1" fmla="val 60000"/>
            <a:gd name="adj2" fmla="val 50000"/>
          </a:avLst>
        </a:prstGeom>
        <a:solidFill>
          <a:srgbClr val="92D05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1002015" y="206583"/>
        <a:ext cx="214381" cy="129816"/>
      </dsp:txXfrm>
    </dsp:sp>
    <dsp:sp modelId="{85F1690C-FAFE-48CB-B905-EA0A7CD33F92}">
      <dsp:nvSpPr>
        <dsp:cNvPr id="0" name=""/>
        <dsp:cNvSpPr/>
      </dsp:nvSpPr>
      <dsp:spPr>
        <a:xfrm>
          <a:off x="1397235" y="170691"/>
          <a:ext cx="869019" cy="302400"/>
        </a:xfrm>
        <a:prstGeom prst="roundRect">
          <a:avLst>
            <a:gd name="adj" fmla="val 10000"/>
          </a:avLst>
        </a:prstGeom>
        <a:solidFill>
          <a:srgbClr val="9966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marL="0" lvl="0" indent="0" algn="l" defTabSz="311150">
            <a:lnSpc>
              <a:spcPct val="90000"/>
            </a:lnSpc>
            <a:spcBef>
              <a:spcPct val="0"/>
            </a:spcBef>
            <a:spcAft>
              <a:spcPct val="35000"/>
            </a:spcAft>
            <a:buNone/>
          </a:pPr>
          <a:r>
            <a:rPr lang="en-US" sz="700" kern="1200"/>
            <a:t>Block 2</a:t>
          </a:r>
        </a:p>
      </dsp:txBody>
      <dsp:txXfrm>
        <a:off x="1397235" y="170691"/>
        <a:ext cx="869019" cy="201600"/>
      </dsp:txXfrm>
    </dsp:sp>
    <dsp:sp modelId="{8345C4AC-F4A3-44E2-BEDB-008B54EEDDDA}">
      <dsp:nvSpPr>
        <dsp:cNvPr id="0" name=""/>
        <dsp:cNvSpPr/>
      </dsp:nvSpPr>
      <dsp:spPr>
        <a:xfrm>
          <a:off x="1575227" y="372291"/>
          <a:ext cx="869019" cy="1360800"/>
        </a:xfrm>
        <a:prstGeom prst="roundRect">
          <a:avLst>
            <a:gd name="adj" fmla="val 10000"/>
          </a:avLst>
        </a:prstGeom>
        <a:solidFill>
          <a:schemeClr val="lt1">
            <a:alpha val="90000"/>
            <a:hueOff val="0"/>
            <a:satOff val="0"/>
            <a:lumOff val="0"/>
            <a:alphaOff val="0"/>
          </a:schemeClr>
        </a:solidFill>
        <a:ln w="12700" cap="flat" cmpd="sng" algn="ctr">
          <a:solidFill>
            <a:srgbClr val="99663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en-US" sz="700" kern="1200" dirty="0"/>
            <a:t>Batch Number</a:t>
          </a:r>
        </a:p>
        <a:p>
          <a:pPr marL="57150" lvl="1" indent="-57150" algn="l" defTabSz="311150">
            <a:lnSpc>
              <a:spcPct val="90000"/>
            </a:lnSpc>
            <a:spcBef>
              <a:spcPct val="0"/>
            </a:spcBef>
            <a:spcAft>
              <a:spcPct val="15000"/>
            </a:spcAft>
            <a:buChar char="•"/>
          </a:pPr>
          <a:r>
            <a:rPr lang="en-US" sz="700" kern="1200" dirty="0"/>
            <a:t>Quality Checks</a:t>
          </a:r>
        </a:p>
        <a:p>
          <a:pPr marL="114300" lvl="2" indent="-57150" algn="l" defTabSz="311150">
            <a:lnSpc>
              <a:spcPct val="90000"/>
            </a:lnSpc>
            <a:spcBef>
              <a:spcPct val="0"/>
            </a:spcBef>
            <a:spcAft>
              <a:spcPct val="15000"/>
            </a:spcAft>
            <a:buChar char="•"/>
          </a:pPr>
          <a:r>
            <a:rPr lang="en-US" sz="700" kern="1200" dirty="0"/>
            <a:t>Mixing Quality</a:t>
          </a:r>
        </a:p>
        <a:p>
          <a:pPr marL="114300" lvl="2" indent="-57150" algn="l" defTabSz="311150">
            <a:lnSpc>
              <a:spcPct val="90000"/>
            </a:lnSpc>
            <a:spcBef>
              <a:spcPct val="0"/>
            </a:spcBef>
            <a:spcAft>
              <a:spcPct val="15000"/>
            </a:spcAft>
            <a:buChar char="•"/>
          </a:pPr>
          <a:r>
            <a:rPr lang="en-US" sz="700" kern="1200" dirty="0"/>
            <a:t>Thickness</a:t>
          </a:r>
        </a:p>
        <a:p>
          <a:pPr marL="114300" lvl="2" indent="-57150" algn="l" defTabSz="311150">
            <a:lnSpc>
              <a:spcPct val="90000"/>
            </a:lnSpc>
            <a:spcBef>
              <a:spcPct val="0"/>
            </a:spcBef>
            <a:spcAft>
              <a:spcPct val="15000"/>
            </a:spcAft>
            <a:buChar char="•"/>
          </a:pPr>
          <a:r>
            <a:rPr lang="en-US" sz="700" kern="1200" dirty="0"/>
            <a:t>Packing</a:t>
          </a:r>
        </a:p>
        <a:p>
          <a:pPr marL="114300" lvl="2" indent="-57150" algn="l" defTabSz="311150">
            <a:lnSpc>
              <a:spcPct val="90000"/>
            </a:lnSpc>
            <a:spcBef>
              <a:spcPct val="0"/>
            </a:spcBef>
            <a:spcAft>
              <a:spcPct val="15000"/>
            </a:spcAft>
            <a:buChar char="•"/>
          </a:pPr>
          <a:r>
            <a:rPr lang="en-US" sz="700" kern="1200" dirty="0"/>
            <a:t>Temperature</a:t>
          </a:r>
        </a:p>
      </dsp:txBody>
      <dsp:txXfrm>
        <a:off x="1600680" y="397744"/>
        <a:ext cx="818113" cy="1309894"/>
      </dsp:txXfrm>
    </dsp:sp>
    <dsp:sp modelId="{94FFA2E1-7C10-436A-B8A5-20BFC134834A}">
      <dsp:nvSpPr>
        <dsp:cNvPr id="0" name=""/>
        <dsp:cNvSpPr/>
      </dsp:nvSpPr>
      <dsp:spPr>
        <a:xfrm>
          <a:off x="2397995" y="163311"/>
          <a:ext cx="279289" cy="216360"/>
        </a:xfrm>
        <a:prstGeom prst="rightArrow">
          <a:avLst>
            <a:gd name="adj1" fmla="val 60000"/>
            <a:gd name="adj2" fmla="val 50000"/>
          </a:avLst>
        </a:prstGeom>
        <a:solidFill>
          <a:srgbClr val="99663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397995" y="206583"/>
        <a:ext cx="214381" cy="129816"/>
      </dsp:txXfrm>
    </dsp:sp>
    <dsp:sp modelId="{8D91895A-7E8A-47EB-914C-DC7BA27237BD}">
      <dsp:nvSpPr>
        <dsp:cNvPr id="0" name=""/>
        <dsp:cNvSpPr/>
      </dsp:nvSpPr>
      <dsp:spPr>
        <a:xfrm>
          <a:off x="2793216" y="170691"/>
          <a:ext cx="869019" cy="302400"/>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marL="0" lvl="0" indent="0" algn="l" defTabSz="311150">
            <a:lnSpc>
              <a:spcPct val="90000"/>
            </a:lnSpc>
            <a:spcBef>
              <a:spcPct val="0"/>
            </a:spcBef>
            <a:spcAft>
              <a:spcPct val="35000"/>
            </a:spcAft>
            <a:buNone/>
          </a:pPr>
          <a:r>
            <a:rPr lang="en-US" sz="700" kern="1200"/>
            <a:t>Block 3</a:t>
          </a:r>
        </a:p>
      </dsp:txBody>
      <dsp:txXfrm>
        <a:off x="2793216" y="170691"/>
        <a:ext cx="869019" cy="201600"/>
      </dsp:txXfrm>
    </dsp:sp>
    <dsp:sp modelId="{57FCCDAE-DA77-403E-9B8E-A2CEBC7B0413}">
      <dsp:nvSpPr>
        <dsp:cNvPr id="0" name=""/>
        <dsp:cNvSpPr/>
      </dsp:nvSpPr>
      <dsp:spPr>
        <a:xfrm>
          <a:off x="2971208" y="372291"/>
          <a:ext cx="869019" cy="1360800"/>
        </a:xfrm>
        <a:prstGeom prst="roundRect">
          <a:avLst>
            <a:gd name="adj" fmla="val 10000"/>
          </a:avLst>
        </a:prstGeom>
        <a:solidFill>
          <a:schemeClr val="lt1">
            <a:alpha val="90000"/>
            <a:hueOff val="0"/>
            <a:satOff val="0"/>
            <a:lumOff val="0"/>
            <a:alphaOff val="0"/>
          </a:schemeClr>
        </a:solidFill>
        <a:ln w="12700" cap="flat" cmpd="sng" algn="ctr">
          <a:solidFill>
            <a:srgbClr val="00B0F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en-US" sz="700" kern="1200" dirty="0"/>
            <a:t>Batch Number</a:t>
          </a:r>
        </a:p>
        <a:p>
          <a:pPr marL="57150" lvl="1" indent="-57150" algn="l" defTabSz="311150">
            <a:lnSpc>
              <a:spcPct val="90000"/>
            </a:lnSpc>
            <a:spcBef>
              <a:spcPct val="0"/>
            </a:spcBef>
            <a:spcAft>
              <a:spcPct val="15000"/>
            </a:spcAft>
            <a:buChar char="•"/>
          </a:pPr>
          <a:r>
            <a:rPr lang="en-US" sz="700" kern="1200" dirty="0"/>
            <a:t>Manufacturing Date</a:t>
          </a:r>
        </a:p>
        <a:p>
          <a:pPr marL="57150" lvl="1" indent="-57150" algn="l" defTabSz="311150">
            <a:lnSpc>
              <a:spcPct val="90000"/>
            </a:lnSpc>
            <a:spcBef>
              <a:spcPct val="0"/>
            </a:spcBef>
            <a:spcAft>
              <a:spcPct val="15000"/>
            </a:spcAft>
            <a:buChar char="•"/>
          </a:pPr>
          <a:r>
            <a:rPr lang="en-US" sz="700" kern="1200" dirty="0"/>
            <a:t>Expiry Date </a:t>
          </a:r>
        </a:p>
        <a:p>
          <a:pPr marL="57150" lvl="1" indent="-57150" algn="l" defTabSz="311150">
            <a:lnSpc>
              <a:spcPct val="90000"/>
            </a:lnSpc>
            <a:spcBef>
              <a:spcPct val="0"/>
            </a:spcBef>
            <a:spcAft>
              <a:spcPct val="15000"/>
            </a:spcAft>
            <a:buChar char="•"/>
          </a:pPr>
          <a:r>
            <a:rPr lang="en-US" sz="700" kern="1200" dirty="0"/>
            <a:t>Shipment No</a:t>
          </a:r>
        </a:p>
        <a:p>
          <a:pPr marL="57150" lvl="1" indent="-57150" algn="l" defTabSz="311150">
            <a:lnSpc>
              <a:spcPct val="90000"/>
            </a:lnSpc>
            <a:spcBef>
              <a:spcPct val="0"/>
            </a:spcBef>
            <a:spcAft>
              <a:spcPct val="15000"/>
            </a:spcAft>
            <a:buChar char="•"/>
          </a:pPr>
          <a:r>
            <a:rPr lang="en-US" sz="700" kern="1200" dirty="0"/>
            <a:t>Shipment Date</a:t>
          </a:r>
        </a:p>
        <a:p>
          <a:pPr marL="57150" lvl="1" indent="-57150" algn="l" defTabSz="311150">
            <a:lnSpc>
              <a:spcPct val="90000"/>
            </a:lnSpc>
            <a:spcBef>
              <a:spcPct val="0"/>
            </a:spcBef>
            <a:spcAft>
              <a:spcPct val="15000"/>
            </a:spcAft>
            <a:buChar char="•"/>
          </a:pPr>
          <a:r>
            <a:rPr lang="en-US" sz="700" kern="1200" dirty="0"/>
            <a:t>Quality Checks</a:t>
          </a:r>
        </a:p>
        <a:p>
          <a:pPr marL="114300" lvl="2" indent="-57150" algn="l" defTabSz="311150">
            <a:lnSpc>
              <a:spcPct val="90000"/>
            </a:lnSpc>
            <a:spcBef>
              <a:spcPct val="0"/>
            </a:spcBef>
            <a:spcAft>
              <a:spcPct val="15000"/>
            </a:spcAft>
            <a:buChar char="•"/>
          </a:pPr>
          <a:r>
            <a:rPr lang="en-US" sz="700" kern="1200" dirty="0"/>
            <a:t>Temperature</a:t>
          </a:r>
        </a:p>
      </dsp:txBody>
      <dsp:txXfrm>
        <a:off x="2996661" y="397744"/>
        <a:ext cx="818113" cy="1309894"/>
      </dsp:txXfrm>
    </dsp:sp>
    <dsp:sp modelId="{56A6E93E-4008-4675-A568-DF685CCC33AD}">
      <dsp:nvSpPr>
        <dsp:cNvPr id="0" name=""/>
        <dsp:cNvSpPr/>
      </dsp:nvSpPr>
      <dsp:spPr>
        <a:xfrm>
          <a:off x="3793976" y="163311"/>
          <a:ext cx="279289" cy="216360"/>
        </a:xfrm>
        <a:prstGeom prst="rightArrow">
          <a:avLst>
            <a:gd name="adj1" fmla="val 60000"/>
            <a:gd name="adj2" fmla="val 50000"/>
          </a:avLst>
        </a:prstGeom>
        <a:solidFill>
          <a:srgbClr val="00B0F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3793976" y="206583"/>
        <a:ext cx="214381" cy="129816"/>
      </dsp:txXfrm>
    </dsp:sp>
    <dsp:sp modelId="{E8AE5047-E509-4DCB-A396-1C3EBD5CD2EB}">
      <dsp:nvSpPr>
        <dsp:cNvPr id="0" name=""/>
        <dsp:cNvSpPr/>
      </dsp:nvSpPr>
      <dsp:spPr>
        <a:xfrm>
          <a:off x="4189196" y="170691"/>
          <a:ext cx="869019" cy="302400"/>
        </a:xfrm>
        <a:prstGeom prst="roundRect">
          <a:avLst>
            <a:gd name="adj" fmla="val 10000"/>
          </a:avLst>
        </a:prstGeom>
        <a:solidFill>
          <a:srgbClr val="FF99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marL="0" lvl="0" indent="0" algn="l" defTabSz="311150">
            <a:lnSpc>
              <a:spcPct val="90000"/>
            </a:lnSpc>
            <a:spcBef>
              <a:spcPct val="0"/>
            </a:spcBef>
            <a:spcAft>
              <a:spcPct val="35000"/>
            </a:spcAft>
            <a:buNone/>
          </a:pPr>
          <a:r>
            <a:rPr lang="en-US" sz="700" kern="1200"/>
            <a:t>Block 4</a:t>
          </a:r>
        </a:p>
      </dsp:txBody>
      <dsp:txXfrm>
        <a:off x="4189196" y="170691"/>
        <a:ext cx="869019" cy="201600"/>
      </dsp:txXfrm>
    </dsp:sp>
    <dsp:sp modelId="{A97FDEAE-42D6-4932-B003-3838E6C12C8D}">
      <dsp:nvSpPr>
        <dsp:cNvPr id="0" name=""/>
        <dsp:cNvSpPr/>
      </dsp:nvSpPr>
      <dsp:spPr>
        <a:xfrm>
          <a:off x="4367188" y="372291"/>
          <a:ext cx="869019" cy="1360800"/>
        </a:xfrm>
        <a:prstGeom prst="roundRect">
          <a:avLst>
            <a:gd name="adj" fmla="val 10000"/>
          </a:avLst>
        </a:prstGeom>
        <a:solidFill>
          <a:schemeClr val="lt1">
            <a:alpha val="90000"/>
            <a:hueOff val="0"/>
            <a:satOff val="0"/>
            <a:lumOff val="0"/>
            <a:alphaOff val="0"/>
          </a:schemeClr>
        </a:solidFill>
        <a:ln w="12700" cap="flat" cmpd="sng" algn="ctr">
          <a:solidFill>
            <a:srgbClr val="FF99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en-US" sz="700" kern="1200" dirty="0"/>
            <a:t>Batch Number</a:t>
          </a:r>
        </a:p>
        <a:p>
          <a:pPr marL="57150" lvl="1" indent="-57150" algn="l" defTabSz="311150">
            <a:lnSpc>
              <a:spcPct val="90000"/>
            </a:lnSpc>
            <a:spcBef>
              <a:spcPct val="0"/>
            </a:spcBef>
            <a:spcAft>
              <a:spcPct val="15000"/>
            </a:spcAft>
            <a:buChar char="•"/>
          </a:pPr>
          <a:r>
            <a:rPr lang="en-US" sz="700" kern="1200" dirty="0"/>
            <a:t>Quality Checks</a:t>
          </a:r>
        </a:p>
        <a:p>
          <a:pPr marL="114300" lvl="2" indent="-57150" algn="l" defTabSz="311150">
            <a:lnSpc>
              <a:spcPct val="90000"/>
            </a:lnSpc>
            <a:spcBef>
              <a:spcPct val="0"/>
            </a:spcBef>
            <a:spcAft>
              <a:spcPct val="15000"/>
            </a:spcAft>
            <a:buChar char="•"/>
          </a:pPr>
          <a:r>
            <a:rPr lang="en-US" sz="700" kern="1200" dirty="0"/>
            <a:t>Temperature</a:t>
          </a:r>
        </a:p>
      </dsp:txBody>
      <dsp:txXfrm>
        <a:off x="4392641" y="397744"/>
        <a:ext cx="818113" cy="1309894"/>
      </dsp:txXfrm>
    </dsp:sp>
    <dsp:sp modelId="{10A9DD78-D8C0-4C15-B31D-04492BC63783}">
      <dsp:nvSpPr>
        <dsp:cNvPr id="0" name=""/>
        <dsp:cNvSpPr/>
      </dsp:nvSpPr>
      <dsp:spPr>
        <a:xfrm>
          <a:off x="5189956" y="163311"/>
          <a:ext cx="279289" cy="216360"/>
        </a:xfrm>
        <a:prstGeom prst="rightArrow">
          <a:avLst>
            <a:gd name="adj1" fmla="val 60000"/>
            <a:gd name="adj2" fmla="val 50000"/>
          </a:avLst>
        </a:prstGeom>
        <a:solidFill>
          <a:srgbClr val="FF99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5189956" y="206583"/>
        <a:ext cx="214381" cy="129816"/>
      </dsp:txXfrm>
    </dsp:sp>
    <dsp:sp modelId="{5A86AF81-F0E6-4373-8A7D-BDA4B07D2DAF}">
      <dsp:nvSpPr>
        <dsp:cNvPr id="0" name=""/>
        <dsp:cNvSpPr/>
      </dsp:nvSpPr>
      <dsp:spPr>
        <a:xfrm>
          <a:off x="5585177" y="170691"/>
          <a:ext cx="869019" cy="302400"/>
        </a:xfrm>
        <a:prstGeom prst="roundRect">
          <a:avLst>
            <a:gd name="adj" fmla="val 10000"/>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marL="0" lvl="0" indent="0" algn="l" defTabSz="311150">
            <a:lnSpc>
              <a:spcPct val="90000"/>
            </a:lnSpc>
            <a:spcBef>
              <a:spcPct val="0"/>
            </a:spcBef>
            <a:spcAft>
              <a:spcPct val="35000"/>
            </a:spcAft>
            <a:buNone/>
          </a:pPr>
          <a:r>
            <a:rPr lang="en-US" sz="700" kern="1200" dirty="0"/>
            <a:t>Block 5</a:t>
          </a:r>
        </a:p>
      </dsp:txBody>
      <dsp:txXfrm>
        <a:off x="5585177" y="170691"/>
        <a:ext cx="869019" cy="201600"/>
      </dsp:txXfrm>
    </dsp:sp>
    <dsp:sp modelId="{26A0B3C7-AB9A-48A7-A937-8CBCD9844C0D}">
      <dsp:nvSpPr>
        <dsp:cNvPr id="0" name=""/>
        <dsp:cNvSpPr/>
      </dsp:nvSpPr>
      <dsp:spPr>
        <a:xfrm>
          <a:off x="5763169" y="372291"/>
          <a:ext cx="869019" cy="1360800"/>
        </a:xfrm>
        <a:prstGeom prst="roundRect">
          <a:avLst>
            <a:gd name="adj" fmla="val 10000"/>
          </a:avLst>
        </a:prstGeom>
        <a:solidFill>
          <a:schemeClr val="lt1">
            <a:alpha val="90000"/>
            <a:hueOff val="0"/>
            <a:satOff val="0"/>
            <a:lumOff val="0"/>
            <a:alphaOff val="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en-US" sz="700" kern="1200" dirty="0"/>
            <a:t>Batch Number</a:t>
          </a:r>
        </a:p>
        <a:p>
          <a:pPr marL="57150" lvl="1" indent="-57150" algn="l" defTabSz="311150">
            <a:lnSpc>
              <a:spcPct val="90000"/>
            </a:lnSpc>
            <a:spcBef>
              <a:spcPct val="0"/>
            </a:spcBef>
            <a:spcAft>
              <a:spcPct val="15000"/>
            </a:spcAft>
            <a:buChar char="•"/>
          </a:pPr>
          <a:r>
            <a:rPr lang="en-US" sz="700" kern="1200" dirty="0"/>
            <a:t>Warehouse Id</a:t>
          </a:r>
        </a:p>
        <a:p>
          <a:pPr marL="57150" lvl="1" indent="-57150" algn="l" defTabSz="311150">
            <a:lnSpc>
              <a:spcPct val="90000"/>
            </a:lnSpc>
            <a:spcBef>
              <a:spcPct val="0"/>
            </a:spcBef>
            <a:spcAft>
              <a:spcPct val="15000"/>
            </a:spcAft>
            <a:buChar char="•"/>
          </a:pPr>
          <a:r>
            <a:rPr lang="en-US" sz="700" kern="1200" dirty="0"/>
            <a:t>Warehouse Receive Date</a:t>
          </a:r>
        </a:p>
        <a:p>
          <a:pPr marL="57150" lvl="1" indent="-57150" algn="l" defTabSz="311150">
            <a:lnSpc>
              <a:spcPct val="90000"/>
            </a:lnSpc>
            <a:spcBef>
              <a:spcPct val="0"/>
            </a:spcBef>
            <a:spcAft>
              <a:spcPct val="15000"/>
            </a:spcAft>
            <a:buChar char="•"/>
          </a:pPr>
          <a:r>
            <a:rPr lang="en-US" sz="700" kern="1200" dirty="0"/>
            <a:t>Retail Transport ID</a:t>
          </a:r>
        </a:p>
        <a:p>
          <a:pPr marL="57150" lvl="1" indent="-57150" algn="l" defTabSz="311150">
            <a:lnSpc>
              <a:spcPct val="90000"/>
            </a:lnSpc>
            <a:spcBef>
              <a:spcPct val="0"/>
            </a:spcBef>
            <a:spcAft>
              <a:spcPct val="15000"/>
            </a:spcAft>
            <a:buChar char="•"/>
          </a:pPr>
          <a:r>
            <a:rPr lang="en-US" sz="700" kern="1200" dirty="0"/>
            <a:t>Retail Invoice Number</a:t>
          </a:r>
        </a:p>
        <a:p>
          <a:pPr marL="57150" lvl="1" indent="-57150" algn="l" defTabSz="311150">
            <a:lnSpc>
              <a:spcPct val="90000"/>
            </a:lnSpc>
            <a:spcBef>
              <a:spcPct val="0"/>
            </a:spcBef>
            <a:spcAft>
              <a:spcPct val="15000"/>
            </a:spcAft>
            <a:buChar char="•"/>
          </a:pPr>
          <a:r>
            <a:rPr lang="en-US" sz="700" kern="1200" dirty="0"/>
            <a:t>Quality Checks</a:t>
          </a:r>
        </a:p>
        <a:p>
          <a:pPr marL="114300" lvl="2" indent="-57150" algn="l" defTabSz="311150">
            <a:lnSpc>
              <a:spcPct val="90000"/>
            </a:lnSpc>
            <a:spcBef>
              <a:spcPct val="0"/>
            </a:spcBef>
            <a:spcAft>
              <a:spcPct val="15000"/>
            </a:spcAft>
            <a:buChar char="•"/>
          </a:pPr>
          <a:r>
            <a:rPr lang="en-US" sz="700" kern="1200" dirty="0"/>
            <a:t>Temperature</a:t>
          </a:r>
        </a:p>
        <a:p>
          <a:pPr marL="57150" lvl="1" indent="-57150" algn="l" defTabSz="311150">
            <a:lnSpc>
              <a:spcPct val="90000"/>
            </a:lnSpc>
            <a:spcBef>
              <a:spcPct val="0"/>
            </a:spcBef>
            <a:spcAft>
              <a:spcPct val="15000"/>
            </a:spcAft>
            <a:buChar char="•"/>
          </a:pPr>
          <a:endParaRPr lang="en-US" sz="700" kern="1200" dirty="0"/>
        </a:p>
      </dsp:txBody>
      <dsp:txXfrm>
        <a:off x="5788622" y="397744"/>
        <a:ext cx="818113" cy="1309894"/>
      </dsp:txXfrm>
    </dsp:sp>
    <dsp:sp modelId="{D00FE85A-E0B4-40C4-B7C0-477B4AD6129E}">
      <dsp:nvSpPr>
        <dsp:cNvPr id="0" name=""/>
        <dsp:cNvSpPr/>
      </dsp:nvSpPr>
      <dsp:spPr>
        <a:xfrm>
          <a:off x="6585937" y="163311"/>
          <a:ext cx="279289" cy="216360"/>
        </a:xfrm>
        <a:prstGeom prst="rightArrow">
          <a:avLst>
            <a:gd name="adj1" fmla="val 60000"/>
            <a:gd name="adj2" fmla="val 50000"/>
          </a:avLst>
        </a:prstGeom>
        <a:solidFill>
          <a:schemeClr val="accent4">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6585937" y="206583"/>
        <a:ext cx="214381" cy="129816"/>
      </dsp:txXfrm>
    </dsp:sp>
    <dsp:sp modelId="{5C5492E9-17CC-47D2-827F-95253AB5FF9E}">
      <dsp:nvSpPr>
        <dsp:cNvPr id="0" name=""/>
        <dsp:cNvSpPr/>
      </dsp:nvSpPr>
      <dsp:spPr>
        <a:xfrm>
          <a:off x="6981157" y="170691"/>
          <a:ext cx="869019" cy="302400"/>
        </a:xfrm>
        <a:prstGeom prst="roundRect">
          <a:avLst>
            <a:gd name="adj" fmla="val 1000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marL="0" lvl="0" indent="0" algn="l" defTabSz="311150">
            <a:lnSpc>
              <a:spcPct val="90000"/>
            </a:lnSpc>
            <a:spcBef>
              <a:spcPct val="0"/>
            </a:spcBef>
            <a:spcAft>
              <a:spcPct val="35000"/>
            </a:spcAft>
            <a:buNone/>
          </a:pPr>
          <a:r>
            <a:rPr lang="en-US" sz="700" kern="1200"/>
            <a:t>Block 6</a:t>
          </a:r>
        </a:p>
      </dsp:txBody>
      <dsp:txXfrm>
        <a:off x="6981157" y="170691"/>
        <a:ext cx="869019" cy="201600"/>
      </dsp:txXfrm>
    </dsp:sp>
    <dsp:sp modelId="{EC8DCAAE-6B1B-487A-B11E-98CC2DED24BE}">
      <dsp:nvSpPr>
        <dsp:cNvPr id="0" name=""/>
        <dsp:cNvSpPr/>
      </dsp:nvSpPr>
      <dsp:spPr>
        <a:xfrm>
          <a:off x="7159149" y="372291"/>
          <a:ext cx="869019" cy="1360800"/>
        </a:xfrm>
        <a:prstGeom prst="roundRect">
          <a:avLst>
            <a:gd name="adj" fmla="val 10000"/>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en-US" sz="700" kern="1200" dirty="0"/>
            <a:t>Batch Number</a:t>
          </a:r>
        </a:p>
        <a:p>
          <a:pPr marL="57150" lvl="1" indent="-57150" algn="l" defTabSz="311150">
            <a:lnSpc>
              <a:spcPct val="90000"/>
            </a:lnSpc>
            <a:spcBef>
              <a:spcPct val="0"/>
            </a:spcBef>
            <a:spcAft>
              <a:spcPct val="15000"/>
            </a:spcAft>
            <a:buChar char="•"/>
          </a:pPr>
          <a:r>
            <a:rPr lang="en-US" sz="700" kern="1200" dirty="0"/>
            <a:t>Quality Checks</a:t>
          </a:r>
        </a:p>
        <a:p>
          <a:pPr marL="114300" lvl="2" indent="-57150" algn="l" defTabSz="311150">
            <a:lnSpc>
              <a:spcPct val="90000"/>
            </a:lnSpc>
            <a:spcBef>
              <a:spcPct val="0"/>
            </a:spcBef>
            <a:spcAft>
              <a:spcPct val="15000"/>
            </a:spcAft>
            <a:buChar char="•"/>
          </a:pPr>
          <a:r>
            <a:rPr lang="en-US" sz="700" kern="1200" dirty="0"/>
            <a:t>Temperature</a:t>
          </a:r>
        </a:p>
      </dsp:txBody>
      <dsp:txXfrm>
        <a:off x="7184602" y="397744"/>
        <a:ext cx="818113" cy="1309894"/>
      </dsp:txXfrm>
    </dsp:sp>
    <dsp:sp modelId="{B6E7F8A9-B232-4BDB-B055-325029E2EA58}">
      <dsp:nvSpPr>
        <dsp:cNvPr id="0" name=""/>
        <dsp:cNvSpPr/>
      </dsp:nvSpPr>
      <dsp:spPr>
        <a:xfrm>
          <a:off x="7981917" y="163311"/>
          <a:ext cx="279289" cy="216360"/>
        </a:xfrm>
        <a:prstGeom prst="rightArrow">
          <a:avLst>
            <a:gd name="adj1" fmla="val 60000"/>
            <a:gd name="adj2" fmla="val 50000"/>
          </a:avLst>
        </a:prstGeom>
        <a:solidFill>
          <a:srgbClr val="FFC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7981917" y="206583"/>
        <a:ext cx="214381" cy="129816"/>
      </dsp:txXfrm>
    </dsp:sp>
    <dsp:sp modelId="{07B7B8E1-D981-419A-933D-8CDFE13F065D}">
      <dsp:nvSpPr>
        <dsp:cNvPr id="0" name=""/>
        <dsp:cNvSpPr/>
      </dsp:nvSpPr>
      <dsp:spPr>
        <a:xfrm>
          <a:off x="8377138" y="170691"/>
          <a:ext cx="869019" cy="302400"/>
        </a:xfrm>
        <a:prstGeom prst="roundRect">
          <a:avLst>
            <a:gd name="adj" fmla="val 10000"/>
          </a:avLst>
        </a:prstGeom>
        <a:solidFill>
          <a:srgbClr val="CC66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marL="0" lvl="0" indent="0" algn="l" defTabSz="311150">
            <a:lnSpc>
              <a:spcPct val="90000"/>
            </a:lnSpc>
            <a:spcBef>
              <a:spcPct val="0"/>
            </a:spcBef>
            <a:spcAft>
              <a:spcPct val="35000"/>
            </a:spcAft>
            <a:buNone/>
          </a:pPr>
          <a:r>
            <a:rPr lang="en-US" sz="700" kern="1200"/>
            <a:t>Block 7</a:t>
          </a:r>
        </a:p>
      </dsp:txBody>
      <dsp:txXfrm>
        <a:off x="8377138" y="170691"/>
        <a:ext cx="869019" cy="201600"/>
      </dsp:txXfrm>
    </dsp:sp>
    <dsp:sp modelId="{6F4FD03D-6CFA-44F7-BC6C-08A27248FDF8}">
      <dsp:nvSpPr>
        <dsp:cNvPr id="0" name=""/>
        <dsp:cNvSpPr/>
      </dsp:nvSpPr>
      <dsp:spPr>
        <a:xfrm>
          <a:off x="8555130" y="372291"/>
          <a:ext cx="869019" cy="1360800"/>
        </a:xfrm>
        <a:prstGeom prst="roundRect">
          <a:avLst>
            <a:gd name="adj" fmla="val 10000"/>
          </a:avLst>
        </a:prstGeom>
        <a:solidFill>
          <a:schemeClr val="lt1">
            <a:alpha val="90000"/>
            <a:hueOff val="0"/>
            <a:satOff val="0"/>
            <a:lumOff val="0"/>
            <a:alphaOff val="0"/>
          </a:schemeClr>
        </a:solidFill>
        <a:ln w="12700" cap="flat" cmpd="sng" algn="ctr">
          <a:solidFill>
            <a:srgbClr val="CC66FF"/>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en-US" sz="700" kern="1200" dirty="0"/>
            <a:t>Batch number</a:t>
          </a:r>
        </a:p>
        <a:p>
          <a:pPr marL="57150" lvl="1" indent="-57150" algn="l" defTabSz="311150">
            <a:lnSpc>
              <a:spcPct val="90000"/>
            </a:lnSpc>
            <a:spcBef>
              <a:spcPct val="0"/>
            </a:spcBef>
            <a:spcAft>
              <a:spcPct val="15000"/>
            </a:spcAft>
            <a:buChar char="•"/>
          </a:pPr>
          <a:r>
            <a:rPr lang="en-US" sz="700" kern="1200" dirty="0"/>
            <a:t>Retail store ID</a:t>
          </a:r>
        </a:p>
        <a:p>
          <a:pPr marL="57150" lvl="1" indent="-57150" algn="l" defTabSz="311150">
            <a:lnSpc>
              <a:spcPct val="90000"/>
            </a:lnSpc>
            <a:spcBef>
              <a:spcPct val="0"/>
            </a:spcBef>
            <a:spcAft>
              <a:spcPct val="15000"/>
            </a:spcAft>
            <a:buChar char="•"/>
          </a:pPr>
          <a:r>
            <a:rPr lang="en-US" sz="700" kern="1200" dirty="0"/>
            <a:t> Retail Receive Date</a:t>
          </a:r>
        </a:p>
        <a:p>
          <a:pPr marL="57150" lvl="1" indent="-57150" algn="l" defTabSz="311150">
            <a:lnSpc>
              <a:spcPct val="90000"/>
            </a:lnSpc>
            <a:spcBef>
              <a:spcPct val="0"/>
            </a:spcBef>
            <a:spcAft>
              <a:spcPct val="15000"/>
            </a:spcAft>
            <a:buChar char="•"/>
          </a:pPr>
          <a:r>
            <a:rPr lang="en-US" sz="700" kern="1200" dirty="0"/>
            <a:t>Quality Checks</a:t>
          </a:r>
        </a:p>
        <a:p>
          <a:pPr marL="114300" lvl="2" indent="-57150" algn="l" defTabSz="311150">
            <a:lnSpc>
              <a:spcPct val="90000"/>
            </a:lnSpc>
            <a:spcBef>
              <a:spcPct val="0"/>
            </a:spcBef>
            <a:spcAft>
              <a:spcPct val="15000"/>
            </a:spcAft>
            <a:buChar char="•"/>
          </a:pPr>
          <a:r>
            <a:rPr lang="en-US" sz="700" kern="1200" dirty="0"/>
            <a:t>Temperature</a:t>
          </a:r>
        </a:p>
      </dsp:txBody>
      <dsp:txXfrm>
        <a:off x="8580583" y="397744"/>
        <a:ext cx="818113" cy="1309894"/>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Futura Next Book" panose="020B0502020204020303" pitchFamily="34"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Futura Next Book" panose="020B0502020204020303" pitchFamily="34" charset="77"/>
              </a:defRPr>
            </a:lvl1pPr>
          </a:lstStyle>
          <a:p>
            <a:fld id="{63B08556-8587-1447-A3BE-E1063EB1DDE9}" type="datetimeFigureOut">
              <a:rPr lang="en-US" smtClean="0"/>
              <a:pPr/>
              <a:t>7/1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Futura Next Book" panose="020B0502020204020303" pitchFamily="34"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Futura Next Book" panose="020B0502020204020303" pitchFamily="34" charset="77"/>
              </a:defRPr>
            </a:lvl1pPr>
          </a:lstStyle>
          <a:p>
            <a:fld id="{7A98D17C-A7EE-D345-89E6-D3D1C299CC23}" type="slidenum">
              <a:rPr lang="en-US" smtClean="0"/>
              <a:pPr/>
              <a:t>‹#›</a:t>
            </a:fld>
            <a:endParaRPr lang="en-US" dirty="0"/>
          </a:p>
        </p:txBody>
      </p:sp>
    </p:spTree>
    <p:extLst>
      <p:ext uri="{BB962C8B-B14F-4D97-AF65-F5344CB8AC3E}">
        <p14:creationId xmlns:p14="http://schemas.microsoft.com/office/powerpoint/2010/main" val="83647024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utura Next Book" panose="020B0502020204020303" pitchFamily="34" charset="77"/>
        <a:ea typeface="+mn-ea"/>
        <a:cs typeface="+mn-cs"/>
      </a:defRPr>
    </a:lvl1pPr>
    <a:lvl2pPr marL="457200" algn="l" defTabSz="914400" rtl="0" eaLnBrk="1" latinLnBrk="0" hangingPunct="1">
      <a:defRPr sz="1200" b="0" i="0" kern="1200">
        <a:solidFill>
          <a:schemeClr val="tx1"/>
        </a:solidFill>
        <a:latin typeface="Futura Next Book" panose="020B0502020204020303" pitchFamily="34" charset="77"/>
        <a:ea typeface="+mn-ea"/>
        <a:cs typeface="+mn-cs"/>
      </a:defRPr>
    </a:lvl2pPr>
    <a:lvl3pPr marL="914400" algn="l" defTabSz="914400" rtl="0" eaLnBrk="1" latinLnBrk="0" hangingPunct="1">
      <a:defRPr sz="1200" b="0" i="0" kern="1200">
        <a:solidFill>
          <a:schemeClr val="tx1"/>
        </a:solidFill>
        <a:latin typeface="Futura Next Book" panose="020B0502020204020303" pitchFamily="34" charset="77"/>
        <a:ea typeface="+mn-ea"/>
        <a:cs typeface="+mn-cs"/>
      </a:defRPr>
    </a:lvl3pPr>
    <a:lvl4pPr marL="1371600" algn="l" defTabSz="914400" rtl="0" eaLnBrk="1" latinLnBrk="0" hangingPunct="1">
      <a:defRPr sz="1200" b="0" i="0" kern="1200">
        <a:solidFill>
          <a:schemeClr val="tx1"/>
        </a:solidFill>
        <a:latin typeface="Futura Next Book" panose="020B0502020204020303" pitchFamily="34" charset="77"/>
        <a:ea typeface="+mn-ea"/>
        <a:cs typeface="+mn-cs"/>
      </a:defRPr>
    </a:lvl4pPr>
    <a:lvl5pPr marL="1828800" algn="l" defTabSz="914400" rtl="0" eaLnBrk="1" latinLnBrk="0" hangingPunct="1">
      <a:defRPr sz="1200" b="0" i="0" kern="1200">
        <a:solidFill>
          <a:schemeClr val="tx1"/>
        </a:solidFill>
        <a:latin typeface="Futura Next Book" panose="020B0502020204020303" pitchFamily="34"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Get thousands of templates, icons, maps, diagrams and charts with Power-user. Visit www.powerusersoftwares.co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18350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rand Mark — Positiv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B3275EB-D295-B044-B04D-B9E2FCE2B31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Slide Number Placeholder 3">
            <a:extLst>
              <a:ext uri="{FF2B5EF4-FFF2-40B4-BE49-F238E27FC236}">
                <a16:creationId xmlns:a16="http://schemas.microsoft.com/office/drawing/2014/main" id="{C36A435C-E2C2-7A40-AAAA-64A88307FDFA}"/>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1243491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Divider — Yellow 2 lin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tx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tx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07D02553-F605-DB49-A8C8-6661049D1D24}"/>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61141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Divider — Blue 2 lin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59D914B5-AA0B-D042-8138-CE0A0CACC237}"/>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502456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Image 2 lines">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31C68222-E8F1-1446-9FA0-428E005D79C3}"/>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6" name="Slide Number Placeholder 5">
            <a:extLst>
              <a:ext uri="{FF2B5EF4-FFF2-40B4-BE49-F238E27FC236}">
                <a16:creationId xmlns:a16="http://schemas.microsoft.com/office/drawing/2014/main" id="{F6CED96D-F838-504D-B853-E03B82C70465}"/>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986155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 Blac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18488" y="2092477"/>
            <a:ext cx="8951976" cy="1615827"/>
          </a:xfrm>
        </p:spPr>
        <p:txBody>
          <a:bodyPr anchor="ctr">
            <a:noAutofit/>
          </a:bodyPr>
          <a:lstStyle>
            <a:lvl1pPr algn="ctr">
              <a:lnSpc>
                <a:spcPct val="110000"/>
              </a:lnSpc>
              <a:defRPr sz="2400" b="0" i="0" kern="0" spc="0">
                <a:solidFill>
                  <a:schemeClr val="bg1"/>
                </a:solidFill>
              </a:defRPr>
            </a:lvl1pPr>
          </a:lstStyle>
          <a:p>
            <a:r>
              <a:rPr lang="en-US" dirty="0"/>
              <a:t>“Lorem Ipsum is simply dummy text of the printing </a:t>
            </a:r>
            <a:br>
              <a:rPr lang="en-US" dirty="0"/>
            </a:br>
            <a:r>
              <a:rPr lang="en-US" dirty="0"/>
              <a:t>and typesetting industry. Lorem Ipsum has been the industry’s standard </a:t>
            </a:r>
            <a:br>
              <a:rPr lang="en-US" dirty="0"/>
            </a:br>
            <a:r>
              <a:rPr lang="en-US" dirty="0"/>
              <a:t>dummy text ever since the 1500s, when an unknown printer </a:t>
            </a:r>
            <a:br>
              <a:rPr lang="en-US" dirty="0"/>
            </a:br>
            <a:r>
              <a:rPr lang="en-US" dirty="0"/>
              <a:t>took a galley of type and scrambled it to make a type specimen book.” </a:t>
            </a:r>
          </a:p>
        </p:txBody>
      </p:sp>
      <p:sp>
        <p:nvSpPr>
          <p:cNvPr id="3" name="Subtitle 2"/>
          <p:cNvSpPr>
            <a:spLocks noGrp="1"/>
          </p:cNvSpPr>
          <p:nvPr>
            <p:ph type="subTitle" idx="1" hasCustomPrompt="1"/>
          </p:nvPr>
        </p:nvSpPr>
        <p:spPr>
          <a:xfrm>
            <a:off x="1618488" y="4514521"/>
            <a:ext cx="8951976" cy="215444"/>
          </a:xfrm>
        </p:spPr>
        <p:txBody>
          <a:bodyPr>
            <a:noAutofit/>
          </a:bodyPr>
          <a:lstStyle>
            <a:lvl1pPr marL="0" indent="0" algn="ctr">
              <a:lnSpc>
                <a:spcPct val="100000"/>
              </a:lnSpc>
              <a:buNone/>
              <a:defRPr sz="1400" b="0" i="0" kern="0" cap="none" spc="50" baseline="0">
                <a:solidFill>
                  <a:schemeClr val="bg1"/>
                </a:solidFill>
                <a:latin typeface="FuturaNext-Medium" panose="020B0602020204020303" pitchFamily="34" charset="77"/>
                <a:cs typeface="FuturaNext-Medium" panose="020B06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By Name Name</a:t>
            </a:r>
          </a:p>
        </p:txBody>
      </p:sp>
      <p:sp>
        <p:nvSpPr>
          <p:cNvPr id="14" name="Freeform 13">
            <a:extLst>
              <a:ext uri="{FF2B5EF4-FFF2-40B4-BE49-F238E27FC236}">
                <a16:creationId xmlns:a16="http://schemas.microsoft.com/office/drawing/2014/main" id="{32B83AFD-50EA-804B-95BE-714F141D12F9}"/>
              </a:ext>
            </a:extLst>
          </p:cNvPr>
          <p:cNvSpPr/>
          <p:nvPr userDrawn="1"/>
        </p:nvSpPr>
        <p:spPr>
          <a:xfrm>
            <a:off x="5975604" y="4123944"/>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5F0878CF-39E6-1641-981E-6C02DDAB9E5A}"/>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6365987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 Yellow">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18488" y="2092477"/>
            <a:ext cx="8951976" cy="1615827"/>
          </a:xfrm>
        </p:spPr>
        <p:txBody>
          <a:bodyPr anchor="ctr">
            <a:noAutofit/>
          </a:bodyPr>
          <a:lstStyle>
            <a:lvl1pPr algn="ctr">
              <a:lnSpc>
                <a:spcPct val="110000"/>
              </a:lnSpc>
              <a:defRPr sz="2400" b="0" i="0" kern="0" spc="0">
                <a:solidFill>
                  <a:schemeClr val="tx1"/>
                </a:solidFill>
              </a:defRPr>
            </a:lvl1pPr>
          </a:lstStyle>
          <a:p>
            <a:r>
              <a:rPr lang="en-US" dirty="0"/>
              <a:t>“Lorem Ipsum is simply dummy text of the printing </a:t>
            </a:r>
            <a:br>
              <a:rPr lang="en-US" dirty="0"/>
            </a:br>
            <a:r>
              <a:rPr lang="en-US" dirty="0"/>
              <a:t>and typesetting industry. Lorem Ipsum has been the industry’s standard </a:t>
            </a:r>
            <a:br>
              <a:rPr lang="en-US" dirty="0"/>
            </a:br>
            <a:r>
              <a:rPr lang="en-US" dirty="0"/>
              <a:t>dummy text ever since the 1500s, when an unknown printer </a:t>
            </a:r>
            <a:br>
              <a:rPr lang="en-US" dirty="0"/>
            </a:br>
            <a:r>
              <a:rPr lang="en-US" dirty="0"/>
              <a:t>took a galley of type and scrambled it to make a type specimen book.” </a:t>
            </a:r>
          </a:p>
        </p:txBody>
      </p:sp>
      <p:sp>
        <p:nvSpPr>
          <p:cNvPr id="3" name="Subtitle 2"/>
          <p:cNvSpPr>
            <a:spLocks noGrp="1"/>
          </p:cNvSpPr>
          <p:nvPr>
            <p:ph type="subTitle" idx="1" hasCustomPrompt="1"/>
          </p:nvPr>
        </p:nvSpPr>
        <p:spPr>
          <a:xfrm>
            <a:off x="1618488" y="4514521"/>
            <a:ext cx="8951976" cy="215444"/>
          </a:xfrm>
        </p:spPr>
        <p:txBody>
          <a:bodyPr>
            <a:noAutofit/>
          </a:bodyPr>
          <a:lstStyle>
            <a:lvl1pPr marL="0" indent="0" algn="ctr">
              <a:lnSpc>
                <a:spcPct val="100000"/>
              </a:lnSpc>
              <a:buNone/>
              <a:defRPr sz="1400" b="0" i="0" kern="0" cap="none" spc="50" baseline="0">
                <a:solidFill>
                  <a:schemeClr val="tx1"/>
                </a:solidFill>
                <a:latin typeface="FuturaNext-Medium" panose="020B0602020204020303" pitchFamily="34" charset="77"/>
                <a:cs typeface="FuturaNext-Medium" panose="020B06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By Name Name</a:t>
            </a:r>
          </a:p>
        </p:txBody>
      </p:sp>
      <p:sp>
        <p:nvSpPr>
          <p:cNvPr id="14" name="Freeform 13">
            <a:extLst>
              <a:ext uri="{FF2B5EF4-FFF2-40B4-BE49-F238E27FC236}">
                <a16:creationId xmlns:a16="http://schemas.microsoft.com/office/drawing/2014/main" id="{32B83AFD-50EA-804B-95BE-714F141D12F9}"/>
              </a:ext>
            </a:extLst>
          </p:cNvPr>
          <p:cNvSpPr/>
          <p:nvPr userDrawn="1"/>
        </p:nvSpPr>
        <p:spPr>
          <a:xfrm>
            <a:off x="5975604" y="4123944"/>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6DD854D-BDD4-FC4A-9861-186CC48F8B8E}"/>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8015219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18488" y="2092477"/>
            <a:ext cx="8951976" cy="1615827"/>
          </a:xfrm>
        </p:spPr>
        <p:txBody>
          <a:bodyPr anchor="ctr">
            <a:noAutofit/>
          </a:bodyPr>
          <a:lstStyle>
            <a:lvl1pPr algn="ctr">
              <a:lnSpc>
                <a:spcPct val="110000"/>
              </a:lnSpc>
              <a:defRPr sz="2400" b="0" i="0" kern="0" spc="0">
                <a:solidFill>
                  <a:schemeClr val="bg1"/>
                </a:solidFill>
              </a:defRPr>
            </a:lvl1pPr>
          </a:lstStyle>
          <a:p>
            <a:r>
              <a:rPr lang="en-US" dirty="0"/>
              <a:t>“Lorem Ipsum is simply dummy text of the printing </a:t>
            </a:r>
            <a:br>
              <a:rPr lang="en-US" dirty="0"/>
            </a:br>
            <a:r>
              <a:rPr lang="en-US" dirty="0"/>
              <a:t>and typesetting industry. Lorem Ipsum has been the industry’s standard </a:t>
            </a:r>
            <a:br>
              <a:rPr lang="en-US" dirty="0"/>
            </a:br>
            <a:r>
              <a:rPr lang="en-US" dirty="0"/>
              <a:t>dummy text ever since the 1500s, when an unknown printer </a:t>
            </a:r>
            <a:br>
              <a:rPr lang="en-US" dirty="0"/>
            </a:br>
            <a:r>
              <a:rPr lang="en-US" dirty="0"/>
              <a:t>took a galley of type and scrambled it to make a type specimen book.” </a:t>
            </a:r>
          </a:p>
        </p:txBody>
      </p:sp>
      <p:sp>
        <p:nvSpPr>
          <p:cNvPr id="3" name="Subtitle 2"/>
          <p:cNvSpPr>
            <a:spLocks noGrp="1"/>
          </p:cNvSpPr>
          <p:nvPr>
            <p:ph type="subTitle" idx="1" hasCustomPrompt="1"/>
          </p:nvPr>
        </p:nvSpPr>
        <p:spPr>
          <a:xfrm>
            <a:off x="1618488" y="4514521"/>
            <a:ext cx="8951976" cy="215444"/>
          </a:xfrm>
        </p:spPr>
        <p:txBody>
          <a:bodyPr>
            <a:noAutofit/>
          </a:bodyPr>
          <a:lstStyle>
            <a:lvl1pPr marL="0" indent="0" algn="ctr">
              <a:lnSpc>
                <a:spcPct val="100000"/>
              </a:lnSpc>
              <a:buNone/>
              <a:defRPr sz="1400" b="0" i="0" kern="0" cap="none" spc="50" baseline="0">
                <a:solidFill>
                  <a:schemeClr val="bg1"/>
                </a:solidFill>
                <a:latin typeface="FuturaNext-Medium" panose="020B0602020204020303" pitchFamily="34" charset="77"/>
                <a:cs typeface="FuturaNext-Medium" panose="020B06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By Name Name</a:t>
            </a:r>
          </a:p>
        </p:txBody>
      </p:sp>
      <p:sp>
        <p:nvSpPr>
          <p:cNvPr id="14" name="Freeform 13">
            <a:extLst>
              <a:ext uri="{FF2B5EF4-FFF2-40B4-BE49-F238E27FC236}">
                <a16:creationId xmlns:a16="http://schemas.microsoft.com/office/drawing/2014/main" id="{32B83AFD-50EA-804B-95BE-714F141D12F9}"/>
              </a:ext>
            </a:extLst>
          </p:cNvPr>
          <p:cNvSpPr/>
          <p:nvPr userDrawn="1"/>
        </p:nvSpPr>
        <p:spPr>
          <a:xfrm>
            <a:off x="5975604" y="4123944"/>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49F9EFD8-C98C-6449-9D3D-8284B19A229B}"/>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912059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oice — Blac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20012" y="2797769"/>
            <a:ext cx="8951976" cy="1262461"/>
          </a:xfrm>
        </p:spPr>
        <p:txBody>
          <a:bodyPr anchor="ctr">
            <a:noAutofit/>
          </a:bodyPr>
          <a:lstStyle>
            <a:lvl1pPr algn="ctr">
              <a:lnSpc>
                <a:spcPct val="110000"/>
              </a:lnSpc>
              <a:defRPr sz="4200" b="0" i="0" kern="0" cap="all" spc="300" baseline="0">
                <a:solidFill>
                  <a:schemeClr val="bg1"/>
                </a:solidFill>
                <a:latin typeface="FuturaNext-Medium" panose="020B0602020204020303" pitchFamily="34" charset="77"/>
              </a:defRPr>
            </a:lvl1pPr>
          </a:lstStyle>
          <a:p>
            <a:r>
              <a:rPr lang="en-US" dirty="0"/>
              <a:t>Uncertainty = Possibilities</a:t>
            </a:r>
          </a:p>
        </p:txBody>
      </p:sp>
      <p:sp>
        <p:nvSpPr>
          <p:cNvPr id="3" name="Slide Number Placeholder 2">
            <a:extLst>
              <a:ext uri="{FF2B5EF4-FFF2-40B4-BE49-F238E27FC236}">
                <a16:creationId xmlns:a16="http://schemas.microsoft.com/office/drawing/2014/main" id="{E34AAB2B-E7DF-5344-B4F9-3BE101E18EDB}"/>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389851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oice — Yellow">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7ADD0CD-A098-B946-BE28-294A2772A5B2}"/>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dirty="0"/>
          </a:p>
        </p:txBody>
      </p:sp>
      <p:sp>
        <p:nvSpPr>
          <p:cNvPr id="4" name="Title 1">
            <a:extLst>
              <a:ext uri="{FF2B5EF4-FFF2-40B4-BE49-F238E27FC236}">
                <a16:creationId xmlns:a16="http://schemas.microsoft.com/office/drawing/2014/main" id="{165E5B2F-5967-724C-AD0F-B9349A3D04ED}"/>
              </a:ext>
            </a:extLst>
          </p:cNvPr>
          <p:cNvSpPr>
            <a:spLocks noGrp="1"/>
          </p:cNvSpPr>
          <p:nvPr>
            <p:ph type="ctrTitle" hasCustomPrompt="1"/>
          </p:nvPr>
        </p:nvSpPr>
        <p:spPr>
          <a:xfrm>
            <a:off x="1620012" y="2797769"/>
            <a:ext cx="8951976" cy="1262461"/>
          </a:xfrm>
        </p:spPr>
        <p:txBody>
          <a:bodyPr anchor="ctr">
            <a:noAutofit/>
          </a:bodyPr>
          <a:lstStyle>
            <a:lvl1pPr algn="ctr">
              <a:lnSpc>
                <a:spcPct val="110000"/>
              </a:lnSpc>
              <a:defRPr sz="4200" b="0" i="0" kern="0" cap="all" spc="300" baseline="0">
                <a:solidFill>
                  <a:schemeClr val="tx1"/>
                </a:solidFill>
                <a:latin typeface="FuturaNext-Medium" panose="020B0602020204020303" pitchFamily="34" charset="77"/>
              </a:defRPr>
            </a:lvl1pPr>
          </a:lstStyle>
          <a:p>
            <a:r>
              <a:rPr lang="en-US" dirty="0"/>
              <a:t>Uncertainty = Possibilities</a:t>
            </a:r>
          </a:p>
        </p:txBody>
      </p:sp>
    </p:spTree>
    <p:extLst>
      <p:ext uri="{BB962C8B-B14F-4D97-AF65-F5344CB8AC3E}">
        <p14:creationId xmlns:p14="http://schemas.microsoft.com/office/powerpoint/2010/main" val="9330224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oice — Blu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B745CE6-6E5B-6D46-A4F6-5C97D6A6740D}"/>
              </a:ext>
            </a:extLst>
          </p:cNvPr>
          <p:cNvSpPr>
            <a:spLocks noGrp="1"/>
          </p:cNvSpPr>
          <p:nvPr>
            <p:ph type="ctrTitle" hasCustomPrompt="1"/>
          </p:nvPr>
        </p:nvSpPr>
        <p:spPr>
          <a:xfrm>
            <a:off x="1620012" y="2797769"/>
            <a:ext cx="8951976" cy="1262461"/>
          </a:xfrm>
        </p:spPr>
        <p:txBody>
          <a:bodyPr anchor="ctr">
            <a:noAutofit/>
          </a:bodyPr>
          <a:lstStyle>
            <a:lvl1pPr algn="ctr">
              <a:lnSpc>
                <a:spcPct val="110000"/>
              </a:lnSpc>
              <a:defRPr sz="4200" b="0" i="0" kern="0" cap="all" spc="300" baseline="0">
                <a:solidFill>
                  <a:schemeClr val="bg1"/>
                </a:solidFill>
                <a:latin typeface="FuturaNext-Medium" panose="020B0602020204020303" pitchFamily="34" charset="77"/>
              </a:defRPr>
            </a:lvl1pPr>
          </a:lstStyle>
          <a:p>
            <a:r>
              <a:rPr lang="en-US" dirty="0"/>
              <a:t>Uncertainty = Possibilities</a:t>
            </a:r>
          </a:p>
        </p:txBody>
      </p:sp>
      <p:sp>
        <p:nvSpPr>
          <p:cNvPr id="5" name="Slide Number Placeholder 2">
            <a:extLst>
              <a:ext uri="{FF2B5EF4-FFF2-40B4-BE49-F238E27FC236}">
                <a16:creationId xmlns:a16="http://schemas.microsoft.com/office/drawing/2014/main" id="{46649A1E-9205-594C-8F03-51C4B7CB4B3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7636078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oice 2 — Black">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20" name="Slide Number Placeholder 2">
            <a:extLst>
              <a:ext uri="{FF2B5EF4-FFF2-40B4-BE49-F238E27FC236}">
                <a16:creationId xmlns:a16="http://schemas.microsoft.com/office/drawing/2014/main" id="{006FC944-EA54-414A-AD06-FD39557D20D7}"/>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968829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rand Mark — Neg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180853D-3584-A948-BFE4-CE06CAA2BA3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9DC715FF-437E-1140-A0C5-C135A00C7533}"/>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866460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oice 2 — Yellow">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tx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5" name="Slide Number Placeholder 2">
            <a:extLst>
              <a:ext uri="{FF2B5EF4-FFF2-40B4-BE49-F238E27FC236}">
                <a16:creationId xmlns:a16="http://schemas.microsoft.com/office/drawing/2014/main" id="{CE025F6D-2342-DB46-ABBC-DCF5DB353F3D}"/>
              </a:ext>
            </a:extLst>
          </p:cNvPr>
          <p:cNvSpPr>
            <a:spLocks noGrp="1"/>
          </p:cNvSpPr>
          <p:nvPr>
            <p:ph type="sldNum" sz="quarter" idx="10"/>
          </p:nvPr>
        </p:nvSpPr>
        <p:spPr>
          <a:xfrm>
            <a:off x="11228832" y="6309360"/>
            <a:ext cx="274320" cy="92333"/>
          </a:xfrm>
        </p:spPr>
        <p:txBody>
          <a:bodyPr/>
          <a:lstStyle>
            <a:lvl1pPr>
              <a:defRPr>
                <a:solidFill>
                  <a:schemeClr val="tx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6881828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oice 2 — Blu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5" name="Slide Number Placeholder 2">
            <a:extLst>
              <a:ext uri="{FF2B5EF4-FFF2-40B4-BE49-F238E27FC236}">
                <a16:creationId xmlns:a16="http://schemas.microsoft.com/office/drawing/2014/main" id="{CE025F6D-2342-DB46-ABBC-DCF5DB353F3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403689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mpaign — Black">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01C5D045-5EF6-8349-B228-AA77CD9B7646}"/>
              </a:ext>
            </a:extLst>
          </p:cNvPr>
          <p:cNvSpPr/>
          <p:nvPr userDrawn="1"/>
        </p:nvSpPr>
        <p:spPr>
          <a:xfrm>
            <a:off x="5977129" y="2590908"/>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itle 1">
            <a:extLst>
              <a:ext uri="{FF2B5EF4-FFF2-40B4-BE49-F238E27FC236}">
                <a16:creationId xmlns:a16="http://schemas.microsoft.com/office/drawing/2014/main" id="{AC479FDC-1FB9-C64C-9F8A-BA9CDA6AF779}"/>
              </a:ext>
            </a:extLst>
          </p:cNvPr>
          <p:cNvSpPr>
            <a:spLocks noGrp="1"/>
          </p:cNvSpPr>
          <p:nvPr>
            <p:ph type="ctrTitle" hasCustomPrompt="1"/>
          </p:nvPr>
        </p:nvSpPr>
        <p:spPr>
          <a:xfrm>
            <a:off x="1620013" y="3097235"/>
            <a:ext cx="8951976" cy="1262461"/>
          </a:xfrm>
        </p:spPr>
        <p:txBody>
          <a:bodyPr anchor="ctr">
            <a:noAutofit/>
          </a:bodyPr>
          <a:lstStyle>
            <a:lvl1pPr algn="ctr">
              <a:lnSpc>
                <a:spcPct val="110000"/>
              </a:lnSpc>
              <a:defRPr sz="4200" b="0" i="0" kern="0" cap="none" spc="0" baseline="0">
                <a:solidFill>
                  <a:schemeClr val="bg1"/>
                </a:solidFill>
                <a:latin typeface="+mn-lt"/>
              </a:defRPr>
            </a:lvl1pPr>
          </a:lstStyle>
          <a:p>
            <a:r>
              <a:rPr lang="en-US" dirty="0"/>
              <a:t>In the space between </a:t>
            </a:r>
            <a:br>
              <a:rPr lang="en-US" dirty="0"/>
            </a:br>
            <a:r>
              <a:rPr lang="en-US" dirty="0"/>
              <a:t>next and now is how.</a:t>
            </a:r>
          </a:p>
        </p:txBody>
      </p:sp>
      <p:sp>
        <p:nvSpPr>
          <p:cNvPr id="13" name="Slide Number Placeholder 2">
            <a:extLst>
              <a:ext uri="{FF2B5EF4-FFF2-40B4-BE49-F238E27FC236}">
                <a16:creationId xmlns:a16="http://schemas.microsoft.com/office/drawing/2014/main" id="{592D0224-106B-E545-B842-20EB2D2B723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306768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mpaign — Yellow">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08372F1-3F3B-D74B-896F-E43107495A05}"/>
              </a:ext>
            </a:extLst>
          </p:cNvPr>
          <p:cNvSpPr/>
          <p:nvPr userDrawn="1"/>
        </p:nvSpPr>
        <p:spPr>
          <a:xfrm>
            <a:off x="5977129" y="2590908"/>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7" name="Title 1">
            <a:extLst>
              <a:ext uri="{FF2B5EF4-FFF2-40B4-BE49-F238E27FC236}">
                <a16:creationId xmlns:a16="http://schemas.microsoft.com/office/drawing/2014/main" id="{F27C4F54-01E1-AE42-A61D-5360DA257819}"/>
              </a:ext>
            </a:extLst>
          </p:cNvPr>
          <p:cNvSpPr>
            <a:spLocks noGrp="1"/>
          </p:cNvSpPr>
          <p:nvPr>
            <p:ph type="ctrTitle" hasCustomPrompt="1"/>
          </p:nvPr>
        </p:nvSpPr>
        <p:spPr>
          <a:xfrm>
            <a:off x="1620013" y="3097235"/>
            <a:ext cx="8951976" cy="1262461"/>
          </a:xfrm>
        </p:spPr>
        <p:txBody>
          <a:bodyPr anchor="ctr">
            <a:noAutofit/>
          </a:bodyPr>
          <a:lstStyle>
            <a:lvl1pPr algn="ctr">
              <a:lnSpc>
                <a:spcPct val="110000"/>
              </a:lnSpc>
              <a:defRPr sz="4200" b="0" i="0" kern="0" cap="none" spc="0" baseline="0">
                <a:solidFill>
                  <a:schemeClr val="tx1"/>
                </a:solidFill>
                <a:latin typeface="+mn-lt"/>
              </a:defRPr>
            </a:lvl1pPr>
          </a:lstStyle>
          <a:p>
            <a:r>
              <a:rPr lang="en-US" dirty="0"/>
              <a:t>In the space between </a:t>
            </a:r>
            <a:br>
              <a:rPr lang="en-US" dirty="0"/>
            </a:br>
            <a:r>
              <a:rPr lang="en-US" dirty="0"/>
              <a:t>next and now is how.</a:t>
            </a:r>
          </a:p>
        </p:txBody>
      </p:sp>
      <p:sp>
        <p:nvSpPr>
          <p:cNvPr id="10" name="Slide Number Placeholder 2">
            <a:extLst>
              <a:ext uri="{FF2B5EF4-FFF2-40B4-BE49-F238E27FC236}">
                <a16:creationId xmlns:a16="http://schemas.microsoft.com/office/drawing/2014/main" id="{B66FB29C-A213-2942-B64E-EB34C4E8FF1D}"/>
              </a:ext>
            </a:extLst>
          </p:cNvPr>
          <p:cNvSpPr>
            <a:spLocks noGrp="1"/>
          </p:cNvSpPr>
          <p:nvPr>
            <p:ph type="sldNum" sz="quarter" idx="10"/>
          </p:nvPr>
        </p:nvSpPr>
        <p:spPr>
          <a:xfrm>
            <a:off x="11228832" y="6309360"/>
            <a:ext cx="274320" cy="92333"/>
          </a:xfrm>
        </p:spPr>
        <p:txBody>
          <a:bodyPr/>
          <a:lstStyle>
            <a:lvl1pPr>
              <a:defRPr>
                <a:solidFill>
                  <a:schemeClr val="tx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9527206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mpaign — Blu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D56887B1-23F4-324F-9D7D-59B34B01A138}"/>
              </a:ext>
            </a:extLst>
          </p:cNvPr>
          <p:cNvSpPr/>
          <p:nvPr userDrawn="1"/>
        </p:nvSpPr>
        <p:spPr>
          <a:xfrm>
            <a:off x="5977129" y="2590908"/>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9" name="Title 1">
            <a:extLst>
              <a:ext uri="{FF2B5EF4-FFF2-40B4-BE49-F238E27FC236}">
                <a16:creationId xmlns:a16="http://schemas.microsoft.com/office/drawing/2014/main" id="{6C2BD267-34D5-A442-B4EC-EBE361FAB7C3}"/>
              </a:ext>
            </a:extLst>
          </p:cNvPr>
          <p:cNvSpPr>
            <a:spLocks noGrp="1"/>
          </p:cNvSpPr>
          <p:nvPr>
            <p:ph type="ctrTitle" hasCustomPrompt="1"/>
          </p:nvPr>
        </p:nvSpPr>
        <p:spPr>
          <a:xfrm>
            <a:off x="1620013" y="3097235"/>
            <a:ext cx="8951976" cy="1262461"/>
          </a:xfrm>
        </p:spPr>
        <p:txBody>
          <a:bodyPr anchor="ctr">
            <a:noAutofit/>
          </a:bodyPr>
          <a:lstStyle>
            <a:lvl1pPr algn="ctr">
              <a:lnSpc>
                <a:spcPct val="110000"/>
              </a:lnSpc>
              <a:defRPr sz="4200" b="0" i="0" kern="0" cap="none" spc="0" baseline="0">
                <a:solidFill>
                  <a:schemeClr val="bg1"/>
                </a:solidFill>
                <a:latin typeface="+mn-lt"/>
              </a:defRPr>
            </a:lvl1pPr>
          </a:lstStyle>
          <a:p>
            <a:r>
              <a:rPr lang="en-US" dirty="0"/>
              <a:t>In the space between </a:t>
            </a:r>
            <a:br>
              <a:rPr lang="en-US" dirty="0"/>
            </a:br>
            <a:r>
              <a:rPr lang="en-US" dirty="0"/>
              <a:t>next and now is how.</a:t>
            </a:r>
          </a:p>
        </p:txBody>
      </p:sp>
      <p:sp>
        <p:nvSpPr>
          <p:cNvPr id="10" name="Slide Number Placeholder 2">
            <a:extLst>
              <a:ext uri="{FF2B5EF4-FFF2-40B4-BE49-F238E27FC236}">
                <a16:creationId xmlns:a16="http://schemas.microsoft.com/office/drawing/2014/main" id="{62666AF1-1C0F-A44F-A024-D0C1A31AB933}"/>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9008230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ize — Black">
    <p:spTree>
      <p:nvGrpSpPr>
        <p:cNvPr id="1" name=""/>
        <p:cNvGrpSpPr/>
        <p:nvPr/>
      </p:nvGrpSpPr>
      <p:grpSpPr>
        <a:xfrm>
          <a:off x="0" y="0"/>
          <a:ext cx="0" cy="0"/>
          <a:chOff x="0" y="0"/>
          <a:chExt cx="0" cy="0"/>
        </a:xfrm>
      </p:grpSpPr>
      <p:sp>
        <p:nvSpPr>
          <p:cNvPr id="2" name="Title 1"/>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11" name="Freeform 10">
            <a:extLst>
              <a:ext uri="{FF2B5EF4-FFF2-40B4-BE49-F238E27FC236}">
                <a16:creationId xmlns:a16="http://schemas.microsoft.com/office/drawing/2014/main" id="{C6389E81-2C51-C14F-8B21-C5B308E14B55}"/>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2">
            <a:extLst>
              <a:ext uri="{FF2B5EF4-FFF2-40B4-BE49-F238E27FC236}">
                <a16:creationId xmlns:a16="http://schemas.microsoft.com/office/drawing/2014/main" id="{4147E1AE-A693-9A40-8B92-695D669D0E57}"/>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56065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ize — Yellow">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D55E8A7-ED80-634F-BCE7-6FD79EFF5EC9}"/>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tx1"/>
                </a:solidFill>
                <a:latin typeface="+mj-lt"/>
              </a:defRPr>
            </a:lvl1pPr>
          </a:lstStyle>
          <a:p>
            <a:r>
              <a:rPr lang="en-US" dirty="0"/>
              <a:t>Seize the space.</a:t>
            </a:r>
          </a:p>
        </p:txBody>
      </p:sp>
      <p:sp>
        <p:nvSpPr>
          <p:cNvPr id="6" name="Freeform 5">
            <a:extLst>
              <a:ext uri="{FF2B5EF4-FFF2-40B4-BE49-F238E27FC236}">
                <a16:creationId xmlns:a16="http://schemas.microsoft.com/office/drawing/2014/main" id="{71B4AFE0-C008-4B4C-8903-D42B405C01B7}"/>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2">
            <a:extLst>
              <a:ext uri="{FF2B5EF4-FFF2-40B4-BE49-F238E27FC236}">
                <a16:creationId xmlns:a16="http://schemas.microsoft.com/office/drawing/2014/main" id="{EA5B2305-FC8A-6D46-AC6D-80FE94FCD99D}"/>
              </a:ext>
            </a:extLst>
          </p:cNvPr>
          <p:cNvSpPr>
            <a:spLocks noGrp="1"/>
          </p:cNvSpPr>
          <p:nvPr>
            <p:ph type="sldNum" sz="quarter" idx="10"/>
          </p:nvPr>
        </p:nvSpPr>
        <p:spPr>
          <a:xfrm>
            <a:off x="11228832" y="6309360"/>
            <a:ext cx="274320" cy="92333"/>
          </a:xfrm>
        </p:spPr>
        <p:txBody>
          <a:bodyPr/>
          <a:lstStyle>
            <a:lvl1pPr>
              <a:defRPr>
                <a:solidFill>
                  <a:schemeClr val="tx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9270787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ize —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3486CF9-4F12-DA4B-A735-7BCB0CE8AE35}"/>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6" name="Freeform 5">
            <a:extLst>
              <a:ext uri="{FF2B5EF4-FFF2-40B4-BE49-F238E27FC236}">
                <a16:creationId xmlns:a16="http://schemas.microsoft.com/office/drawing/2014/main" id="{85E69C55-8194-F349-926F-B9764AEFE053}"/>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2">
            <a:extLst>
              <a:ext uri="{FF2B5EF4-FFF2-40B4-BE49-F238E27FC236}">
                <a16:creationId xmlns:a16="http://schemas.microsoft.com/office/drawing/2014/main" id="{6942612F-F6E9-F645-8FA9-065EB32F012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7964765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a:t>
            </a:r>
          </a:p>
        </p:txBody>
      </p:sp>
      <p:sp>
        <p:nvSpPr>
          <p:cNvPr id="10" name="Picture Placeholder 4">
            <a:extLst>
              <a:ext uri="{FF2B5EF4-FFF2-40B4-BE49-F238E27FC236}">
                <a16:creationId xmlns:a16="http://schemas.microsoft.com/office/drawing/2014/main" id="{A98CC79F-1E95-8541-8034-F5FAD9638258}"/>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81AF3099-DFCB-6645-89E4-159BC12332AB}"/>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65620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Image Right Option 2">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22B65A8A-CD2C-654B-AFC8-42A98B91C012}"/>
              </a:ext>
            </a:extLst>
          </p:cNvPr>
          <p:cNvSpPr>
            <a:spLocks noGrp="1"/>
          </p:cNvSpPr>
          <p:nvPr>
            <p:ph type="pic" sz="quarter" idx="12"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355848"/>
            <a:ext cx="2404872" cy="70408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403054"/>
            <a:ext cx="2404872" cy="1771676"/>
          </a:xfrm>
        </p:spPr>
        <p:txBody>
          <a:bodyPr>
            <a:noAutofit/>
          </a:bodyPr>
          <a:lstStyle>
            <a:lvl1pPr>
              <a:defRPr/>
            </a:lvl1pPr>
          </a:lstStyle>
          <a:p>
            <a:pPr lvl="0"/>
            <a:r>
              <a:rPr lang="en-US" dirty="0"/>
              <a:t>Lorem Ipsum is simply dummy text of the printing and typesetting industry. Lorem Ipsum has been the industry's standard dummy text ever since the 1500s.</a:t>
            </a:r>
          </a:p>
        </p:txBody>
      </p:sp>
      <p:sp>
        <p:nvSpPr>
          <p:cNvPr id="3" name="Slide Number Placeholder 2">
            <a:extLst>
              <a:ext uri="{FF2B5EF4-FFF2-40B4-BE49-F238E27FC236}">
                <a16:creationId xmlns:a16="http://schemas.microsoft.com/office/drawing/2014/main" id="{18133FC2-193D-634C-833D-4A9C30650180}"/>
              </a:ext>
            </a:extLst>
          </p:cNvPr>
          <p:cNvSpPr>
            <a:spLocks noGrp="1"/>
          </p:cNvSpPr>
          <p:nvPr>
            <p:ph type="sldNum" sz="quarter" idx="13"/>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141547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70A6E9-CE54-E84B-A006-93EFAD2CA19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1989000"/>
            <a:ext cx="7020000" cy="288000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Solution Nam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7020000" cy="155448"/>
          </a:xfrm>
        </p:spPr>
        <p:txBody>
          <a:bodyPr anchor="ctr" anchorCtr="0">
            <a:noAutofit/>
          </a:bodyPr>
          <a:lstStyle>
            <a:lvl1pPr marL="0" indent="0" algn="l">
              <a:lnSpc>
                <a:spcPct val="100000"/>
              </a:lnSpc>
              <a:buNone/>
              <a:defRPr sz="1000" b="0" i="0" spc="200" baseline="0">
                <a:solidFill>
                  <a:schemeClr val="tx1"/>
                </a:solidFill>
                <a:latin typeface="FUTURANEXT-MEDIUM"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EAM NAME – LOCATION</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549260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Full Image">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9E1FF214-90D7-E24E-922F-0ED2770E7BE5}"/>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6400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7174584E-B4DF-7D42-8B27-EE3368B4BFA4}"/>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5300029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lumn: Image Left">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92B909D7-76AD-6249-82AB-076A08868847}"/>
              </a:ext>
            </a:extLst>
          </p:cNvPr>
          <p:cNvSpPr>
            <a:spLocks noGrp="1"/>
          </p:cNvSpPr>
          <p:nvPr>
            <p:ph type="pic" sz="quarter" idx="11" hasCustomPrompt="1"/>
          </p:nvPr>
        </p:nvSpPr>
        <p:spPr>
          <a:xfrm>
            <a:off x="0" y="0"/>
            <a:ext cx="5907024"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281928"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dirty="0"/>
              <a:t>Long title sentence case, Lorem Ipsum has been the industry’s standard dummy text ever since the 1500s.</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
        <p:nvSpPr>
          <p:cNvPr id="3" name="Slide Number Placeholder 2">
            <a:extLst>
              <a:ext uri="{FF2B5EF4-FFF2-40B4-BE49-F238E27FC236}">
                <a16:creationId xmlns:a16="http://schemas.microsoft.com/office/drawing/2014/main" id="{5FEEA9D0-189E-BF4C-9957-81A666F79FEB}"/>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9206727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alf circle image: Image Lef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EEA9D0-189E-BF4C-9957-81A666F79FEB}"/>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15" name="Picture Placeholder 14">
            <a:extLst>
              <a:ext uri="{FF2B5EF4-FFF2-40B4-BE49-F238E27FC236}">
                <a16:creationId xmlns:a16="http://schemas.microsoft.com/office/drawing/2014/main" id="{7AFD2F91-B811-6843-97ED-4D5DEAF431EC}"/>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7" name="Title 1">
            <a:extLst>
              <a:ext uri="{FF2B5EF4-FFF2-40B4-BE49-F238E27FC236}">
                <a16:creationId xmlns:a16="http://schemas.microsoft.com/office/drawing/2014/main" id="{B7220531-D027-3A4A-9F33-305E544BE670}"/>
              </a:ext>
            </a:extLst>
          </p:cNvPr>
          <p:cNvSpPr>
            <a:spLocks noGrp="1"/>
          </p:cNvSpPr>
          <p:nvPr>
            <p:ph type="title" hasCustomPrompt="1"/>
          </p:nvPr>
        </p:nvSpPr>
        <p:spPr>
          <a:xfrm>
            <a:off x="6281928"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dirty="0"/>
              <a:t>Long title sentence case, Lorem Ipsum has been the industry’s standard dummy text ever since the 1500s.</a:t>
            </a:r>
          </a:p>
        </p:txBody>
      </p:sp>
      <p:sp>
        <p:nvSpPr>
          <p:cNvPr id="18" name="Text Placeholder 8">
            <a:extLst>
              <a:ext uri="{FF2B5EF4-FFF2-40B4-BE49-F238E27FC236}">
                <a16:creationId xmlns:a16="http://schemas.microsoft.com/office/drawing/2014/main" id="{79C3CC2B-114F-6B45-A6BC-67F381F62135}"/>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Tree>
    <p:extLst>
      <p:ext uri="{BB962C8B-B14F-4D97-AF65-F5344CB8AC3E}">
        <p14:creationId xmlns:p14="http://schemas.microsoft.com/office/powerpoint/2010/main" val="4702836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alf circle image: Image 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EEA9D0-189E-BF4C-9957-81A666F79FEB}"/>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13" name="Picture Placeholder 12">
            <a:extLst>
              <a:ext uri="{FF2B5EF4-FFF2-40B4-BE49-F238E27FC236}">
                <a16:creationId xmlns:a16="http://schemas.microsoft.com/office/drawing/2014/main" id="{C62917FF-599D-3045-81AF-EC10E68D0575}"/>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accent6">
              <a:lumMod val="60000"/>
              <a:lumOff val="40000"/>
            </a:schemeClr>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dirty="0"/>
              <a:t>Drag and drop image or click icon to add</a:t>
            </a:r>
          </a:p>
        </p:txBody>
      </p:sp>
      <p:sp>
        <p:nvSpPr>
          <p:cNvPr id="14" name="Title 1">
            <a:extLst>
              <a:ext uri="{FF2B5EF4-FFF2-40B4-BE49-F238E27FC236}">
                <a16:creationId xmlns:a16="http://schemas.microsoft.com/office/drawing/2014/main" id="{DB7E7E5E-6141-2642-90D6-67DE014B061E}"/>
              </a:ext>
            </a:extLst>
          </p:cNvPr>
          <p:cNvSpPr>
            <a:spLocks noGrp="1"/>
          </p:cNvSpPr>
          <p:nvPr>
            <p:ph type="title" hasCustomPrompt="1"/>
          </p:nvPr>
        </p:nvSpPr>
        <p:spPr>
          <a:xfrm>
            <a:off x="685800"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dirty="0"/>
              <a:t>Long title sentence case, Lorem Ipsum has been the industry’s standard dummy text ever since the 1500s.</a:t>
            </a:r>
          </a:p>
        </p:txBody>
      </p:sp>
      <p:sp>
        <p:nvSpPr>
          <p:cNvPr id="15" name="Text Placeholder 8">
            <a:extLst>
              <a:ext uri="{FF2B5EF4-FFF2-40B4-BE49-F238E27FC236}">
                <a16:creationId xmlns:a16="http://schemas.microsoft.com/office/drawing/2014/main" id="{31B7C472-61C5-9E4A-A7C6-E77BB1B780B0}"/>
              </a:ext>
            </a:extLst>
          </p:cNvPr>
          <p:cNvSpPr>
            <a:spLocks noGrp="1"/>
          </p:cNvSpPr>
          <p:nvPr>
            <p:ph type="body" sz="quarter" idx="10" hasCustomPrompt="1"/>
          </p:nvPr>
        </p:nvSpPr>
        <p:spPr>
          <a:xfrm>
            <a:off x="685800" y="2371745"/>
            <a:ext cx="5221224" cy="3599287"/>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Tree>
    <p:extLst>
      <p:ext uri="{BB962C8B-B14F-4D97-AF65-F5344CB8AC3E}">
        <p14:creationId xmlns:p14="http://schemas.microsoft.com/office/powerpoint/2010/main" val="19640802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First level</a:t>
            </a:r>
          </a:p>
          <a:p>
            <a:pPr lvl="2"/>
            <a:r>
              <a:rPr lang="en-US" dirty="0"/>
              <a:t>Second level</a:t>
            </a:r>
          </a:p>
          <a:p>
            <a:pPr lvl="3"/>
            <a:r>
              <a:rPr lang="en-US" dirty="0"/>
              <a:t>Third level</a:t>
            </a:r>
          </a:p>
          <a:p>
            <a:pPr lvl="0"/>
            <a:endParaRPr lang="en-US" dirty="0"/>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dirty="0"/>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2"/>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384164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62072"/>
            <a:ext cx="3355848" cy="1143000"/>
          </a:xfrm>
        </p:spPr>
        <p:txBody>
          <a:bodyPr anchor="ctr" anchorCtr="0">
            <a:noAutofit/>
          </a:bodyPr>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5358384" y="1901952"/>
            <a:ext cx="6153912" cy="3657600"/>
          </a:xfrm>
        </p:spPr>
        <p:txBody>
          <a:bodyPr numCol="1"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First level</a:t>
            </a:r>
          </a:p>
          <a:p>
            <a:pPr lvl="2"/>
            <a:r>
              <a:rPr lang="en-US" dirty="0"/>
              <a:t>Second level</a:t>
            </a:r>
          </a:p>
          <a:p>
            <a:pPr lvl="3"/>
            <a:r>
              <a:rPr lang="en-US" dirty="0"/>
              <a:t>Third level</a:t>
            </a:r>
          </a:p>
          <a:p>
            <a:pPr lvl="0"/>
            <a:endParaRPr lang="en-US" dirty="0"/>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5358384" y="1490472"/>
            <a:ext cx="6153912" cy="256032"/>
          </a:xfrm>
        </p:spPr>
        <p:txBody>
          <a:bodyPr anchor="t" anchorCtr="0">
            <a:noAutofit/>
          </a:bodyPr>
          <a:lstStyle>
            <a:lvl1pPr marL="0" indent="0" algn="l">
              <a:spcAft>
                <a:spcPts val="0"/>
              </a:spcAft>
              <a:buNone/>
              <a:defRPr sz="1400" b="0" i="0" kern="0" cap="none" spc="50" baseline="0">
                <a:solidFill>
                  <a:schemeClr val="accent2"/>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3" name="Slide Number Placeholder 2">
            <a:extLst>
              <a:ext uri="{FF2B5EF4-FFF2-40B4-BE49-F238E27FC236}">
                <a16:creationId xmlns:a16="http://schemas.microsoft.com/office/drawing/2014/main" id="{EC7A992B-7848-D544-B4C3-4AAC89692C85}"/>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0132034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6" name="Chart Placeholder 12">
            <a:extLst>
              <a:ext uri="{FF2B5EF4-FFF2-40B4-BE49-F238E27FC236}">
                <a16:creationId xmlns:a16="http://schemas.microsoft.com/office/drawing/2014/main" id="{7AEAD2CC-107A-354B-9784-21BB6F199BA3}"/>
              </a:ext>
            </a:extLst>
          </p:cNvPr>
          <p:cNvSpPr>
            <a:spLocks noGrp="1"/>
          </p:cNvSpPr>
          <p:nvPr>
            <p:ph type="chart" sz="quarter" idx="10" hasCustomPrompt="1"/>
          </p:nvPr>
        </p:nvSpPr>
        <p:spPr>
          <a:xfrm>
            <a:off x="685979" y="1805796"/>
            <a:ext cx="10820170" cy="4136136"/>
          </a:xfrm>
          <a:prstGeom prst="rect">
            <a:avLst/>
          </a:prstGeom>
        </p:spPr>
        <p:txBody>
          <a:bodyPr tIns="914400" anchor="ctr" anchorCtr="0"/>
          <a:lstStyle>
            <a:lvl1pPr algn="ctr">
              <a:defRPr b="0" i="0"/>
            </a:lvl1pPr>
          </a:lstStyle>
          <a:p>
            <a:r>
              <a:rPr lang="en-US" dirty="0"/>
              <a:t>Insert or create a chart</a:t>
            </a:r>
          </a:p>
        </p:txBody>
      </p:sp>
      <p:sp>
        <p:nvSpPr>
          <p:cNvPr id="3" name="Slide Number Placeholder 2">
            <a:extLst>
              <a:ext uri="{FF2B5EF4-FFF2-40B4-BE49-F238E27FC236}">
                <a16:creationId xmlns:a16="http://schemas.microsoft.com/office/drawing/2014/main" id="{93E60096-6BE3-B249-A1A7-82EB308A1B48}"/>
              </a:ext>
            </a:extLst>
          </p:cNvPr>
          <p:cNvSpPr>
            <a:spLocks noGrp="1"/>
          </p:cNvSpPr>
          <p:nvPr>
            <p:ph type="sldNum" sz="quarter" idx="11"/>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8936635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479967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go with Copy">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097280"/>
            <a:ext cx="3355848" cy="4206240"/>
          </a:xfrm>
        </p:spPr>
        <p:txBody>
          <a:bodyPr numCol="1"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685800"/>
            <a:ext cx="3355848" cy="256032"/>
          </a:xfrm>
        </p:spPr>
        <p:txBody>
          <a:bodyPr anchor="t" anchorCtr="0">
            <a:noAutofit/>
          </a:bodyPr>
          <a:lstStyle>
            <a:lvl1pPr marL="0" indent="0" algn="l">
              <a:spcAft>
                <a:spcPts val="0"/>
              </a:spcAft>
              <a:buNone/>
              <a:defRPr sz="1400" b="0" i="0" kern="0" cap="none" spc="50" baseline="0">
                <a:solidFill>
                  <a:schemeClr val="accent2"/>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6" name="Picture Placeholder 14">
            <a:extLst>
              <a:ext uri="{FF2B5EF4-FFF2-40B4-BE49-F238E27FC236}">
                <a16:creationId xmlns:a16="http://schemas.microsoft.com/office/drawing/2014/main" id="{909FA3C1-387A-6442-B58B-1D1E68584C0C}"/>
              </a:ext>
            </a:extLst>
          </p:cNvPr>
          <p:cNvSpPr>
            <a:spLocks noGrp="1"/>
          </p:cNvSpPr>
          <p:nvPr>
            <p:ph type="pic" sz="quarter" idx="12" hasCustomPrompt="1"/>
          </p:nvPr>
        </p:nvSpPr>
        <p:spPr>
          <a:xfrm>
            <a:off x="4419600" y="0"/>
            <a:ext cx="7772400"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Insert your logos here</a:t>
            </a:r>
          </a:p>
        </p:txBody>
      </p:sp>
      <p:sp>
        <p:nvSpPr>
          <p:cNvPr id="2" name="Slide Number Placeholder 1">
            <a:extLst>
              <a:ext uri="{FF2B5EF4-FFF2-40B4-BE49-F238E27FC236}">
                <a16:creationId xmlns:a16="http://schemas.microsoft.com/office/drawing/2014/main" id="{183063AE-43C7-0448-9F6E-8CF9A35727E2}"/>
              </a:ext>
            </a:extLst>
          </p:cNvPr>
          <p:cNvSpPr>
            <a:spLocks noGrp="1"/>
          </p:cNvSpPr>
          <p:nvPr>
            <p:ph type="sldNum" sz="quarter" idx="13"/>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582866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go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Insert your logos her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0609477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10817352" cy="219456"/>
          </a:xfrm>
        </p:spPr>
        <p:txBody>
          <a:bodyPr anchor="t" anchorCtr="0">
            <a:noAutofit/>
          </a:bodyPr>
          <a:lstStyle>
            <a:lvl1pPr algn="l">
              <a:lnSpc>
                <a:spcPct val="100000"/>
              </a:lnSpc>
              <a:defRPr sz="1400" spc="50" baseline="0">
                <a:solidFill>
                  <a:schemeClr val="accent2"/>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1089835"/>
            <a:ext cx="10817352" cy="4572000"/>
          </a:xfrm>
        </p:spPr>
        <p:txBody>
          <a:bodyPr anchor="ctr" anchorCtr="0"/>
          <a:lstStyle>
            <a:lvl1pPr>
              <a:buAutoNum type="arabicPeriod"/>
              <a:defRPr/>
            </a:lvl1pPr>
            <a:lvl3pPr>
              <a:buAutoNum type="arabicPeriod"/>
              <a:defRPr/>
            </a:lvl3pPr>
            <a:lvl4pPr>
              <a:buAutoNum type="arabicPeriod"/>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806157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9276522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609600" y="1052736"/>
            <a:ext cx="10972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27449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622474" y="2078966"/>
            <a:ext cx="9144000" cy="2387600"/>
          </a:xfrm>
        </p:spPr>
        <p:txBody>
          <a:bodyPr anchor="b">
            <a:normAutofit/>
          </a:bodyPr>
          <a:lstStyle>
            <a:lvl1pPr algn="ctr">
              <a:defRPr sz="6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622474" y="4558641"/>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76D79ED-3FA7-4EF8-964B-EB8BCFAB02F8}" type="datetimeFigureOut">
              <a:rPr lang="en-US" smtClean="0"/>
              <a:t>7/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F12CB2-7F2C-47B9-AE70-22A94B49F233}" type="slidenum">
              <a:rPr lang="en-US" smtClean="0"/>
              <a:t>‹#›</a:t>
            </a:fld>
            <a:endParaRPr lang="en-US"/>
          </a:p>
        </p:txBody>
      </p:sp>
    </p:spTree>
    <p:extLst>
      <p:ext uri="{BB962C8B-B14F-4D97-AF65-F5344CB8AC3E}">
        <p14:creationId xmlns:p14="http://schemas.microsoft.com/office/powerpoint/2010/main" val="23027850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ver — 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70A6E9-CE54-E84B-A006-93EFAD2CA19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1989000"/>
            <a:ext cx="7020000" cy="288000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Solution Name</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431359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ck Cover —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6EA3458-4915-CA4E-BAC3-A60AFD164C7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l"/>
            <a:r>
              <a:rPr lang="en-US" sz="4300" b="0" i="0" dirty="0">
                <a:latin typeface="Futura Next Book" panose="020B0502020204020303" pitchFamily="34" charset="77"/>
              </a:rPr>
              <a:t>thank you</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871770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Divider — Black 1 lin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48195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vider — Yellow 1 lin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tx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tx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996813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vider — Blue 1 lin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10196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 Image 1 lin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D5721A84-F5F4-AE40-8900-8475A01D9087}"/>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3661652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Divider — Black 2 lin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chorCtr="0">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2560702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6.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theme" Target="../theme/theme7.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D1B4FED0-E9AE-EB45-B8EA-D99C685DB8A7}"/>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227418649"/>
      </p:ext>
    </p:extLst>
  </p:cSld>
  <p:clrMap bg1="lt1" tx1="dk1" bg2="lt2" tx2="dk2" accent1="accent1" accent2="accent2" accent3="accent3" accent4="accent4" accent5="accent5" accent6="accent6" hlink="hlink" folHlink="folHlink"/>
  <p:sldLayoutIdLst>
    <p:sldLayoutId id="2147483651" r:id="rId1"/>
    <p:sldLayoutId id="2147483652" r:id="rId2"/>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208">
          <p15:clr>
            <a:srgbClr val="F26B43"/>
          </p15:clr>
        </p15:guide>
        <p15:guide id="11" pos="2520">
          <p15:clr>
            <a:srgbClr val="F26B43"/>
          </p15:clr>
        </p15:guide>
        <p15:guide id="12" pos="2784">
          <p15:clr>
            <a:srgbClr val="F26B43"/>
          </p15:clr>
        </p15:guide>
        <p15:guide id="13" pos="3120">
          <p15:clr>
            <a:srgbClr val="F26B43"/>
          </p15:clr>
        </p15:guide>
        <p15:guide id="14" pos="3384">
          <p15:clr>
            <a:srgbClr val="F26B43"/>
          </p15:clr>
        </p15:guide>
        <p15:guide id="15" pos="3696">
          <p15:clr>
            <a:srgbClr val="F26B43"/>
          </p15:clr>
        </p15:guide>
        <p15:guide id="16" pos="3960">
          <p15:clr>
            <a:srgbClr val="F26B43"/>
          </p15:clr>
        </p15:guide>
        <p15:guide id="17" pos="4296">
          <p15:clr>
            <a:srgbClr val="F26B43"/>
          </p15:clr>
        </p15:guide>
        <p15:guide id="18" pos="4560">
          <p15:clr>
            <a:srgbClr val="F26B43"/>
          </p15:clr>
        </p15:guide>
        <p15:guide id="19" pos="4872">
          <p15:clr>
            <a:srgbClr val="F26B43"/>
          </p15:clr>
        </p15:guide>
        <p15:guide id="20" pos="5136">
          <p15:clr>
            <a:srgbClr val="F26B43"/>
          </p15:clr>
        </p15:guide>
        <p15:guide id="21" pos="5472">
          <p15:clr>
            <a:srgbClr val="F26B43"/>
          </p15:clr>
        </p15:guide>
        <p15:guide id="22" pos="5736">
          <p15:clr>
            <a:srgbClr val="F26B43"/>
          </p15:clr>
        </p15:guide>
        <p15:guide id="23" pos="6072">
          <p15:clr>
            <a:srgbClr val="F26B43"/>
          </p15:clr>
        </p15:guide>
        <p15:guide id="24" pos="6312">
          <p15:clr>
            <a:srgbClr val="F26B43"/>
          </p15:clr>
        </p15:guide>
        <p15:guide id="25" pos="6648">
          <p15:clr>
            <a:srgbClr val="F26B43"/>
          </p15:clr>
        </p15:guide>
        <p15:guide id="26" pos="6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95159075"/>
      </p:ext>
    </p:extLst>
  </p:cSld>
  <p:clrMap bg1="lt1" tx1="dk1" bg2="lt2" tx2="dk2" accent1="accent1" accent2="accent2" accent3="accent3" accent4="accent4" accent5="accent5" accent6="accent6" hlink="hlink" folHlink="folHlink"/>
  <p:sldLayoutIdLst>
    <p:sldLayoutId id="2147483654" r:id="rId1"/>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208">
          <p15:clr>
            <a:srgbClr val="F26B43"/>
          </p15:clr>
        </p15:guide>
        <p15:guide id="11" pos="2520">
          <p15:clr>
            <a:srgbClr val="F26B43"/>
          </p15:clr>
        </p15:guide>
        <p15:guide id="12" pos="2784">
          <p15:clr>
            <a:srgbClr val="F26B43"/>
          </p15:clr>
        </p15:guide>
        <p15:guide id="13" pos="3120">
          <p15:clr>
            <a:srgbClr val="F26B43"/>
          </p15:clr>
        </p15:guide>
        <p15:guide id="14" pos="3384">
          <p15:clr>
            <a:srgbClr val="F26B43"/>
          </p15:clr>
        </p15:guide>
        <p15:guide id="15" pos="3696">
          <p15:clr>
            <a:srgbClr val="F26B43"/>
          </p15:clr>
        </p15:guide>
        <p15:guide id="16" pos="3960">
          <p15:clr>
            <a:srgbClr val="F26B43"/>
          </p15:clr>
        </p15:guide>
        <p15:guide id="17" pos="4296">
          <p15:clr>
            <a:srgbClr val="F26B43"/>
          </p15:clr>
        </p15:guide>
        <p15:guide id="18" pos="4560">
          <p15:clr>
            <a:srgbClr val="F26B43"/>
          </p15:clr>
        </p15:guide>
        <p15:guide id="19" pos="4872">
          <p15:clr>
            <a:srgbClr val="F26B43"/>
          </p15:clr>
        </p15:guide>
        <p15:guide id="20" pos="5136">
          <p15:clr>
            <a:srgbClr val="F26B43"/>
          </p15:clr>
        </p15:guide>
        <p15:guide id="21" pos="5472">
          <p15:clr>
            <a:srgbClr val="F26B43"/>
          </p15:clr>
        </p15:guide>
        <p15:guide id="22" pos="5736">
          <p15:clr>
            <a:srgbClr val="F26B43"/>
          </p15:clr>
        </p15:guide>
        <p15:guide id="23" pos="6072">
          <p15:clr>
            <a:srgbClr val="F26B43"/>
          </p15:clr>
        </p15:guide>
        <p15:guide id="24" pos="6312">
          <p15:clr>
            <a:srgbClr val="F26B43"/>
          </p15:clr>
        </p15:guide>
        <p15:guide id="25" pos="6648">
          <p15:clr>
            <a:srgbClr val="F26B43"/>
          </p15:clr>
        </p15:guide>
        <p15:guide id="26" pos="6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F956D247-3C63-4B4D-9D8E-FC3B25350A4A}"/>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3897208"/>
      </p:ext>
    </p:extLst>
  </p:cSld>
  <p:clrMap bg1="lt1" tx1="dk1" bg2="lt2" tx2="dk2" accent1="accent1" accent2="accent2" accent3="accent3" accent4="accent4" accent5="accent5" accent6="accent6" hlink="hlink" folHlink="folHlink"/>
  <p:sldLayoutIdLst>
    <p:sldLayoutId id="2147483660" r:id="rId1"/>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b="0" i="0" kern="1200">
          <a:solidFill>
            <a:schemeClr val="tx1"/>
          </a:solidFill>
          <a:latin typeface="Futura Next Book" panose="020B0502020204020303" pitchFamily="34" charset="77"/>
          <a:ea typeface="+mn-ea"/>
          <a:cs typeface="+mn-cs"/>
        </a:defRPr>
      </a:lvl1pPr>
      <a:lvl2pPr marL="690563" indent="-342900"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2pPr>
      <a:lvl3pPr marL="1031875" indent="-341313"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3pPr>
      <a:lvl4pPr marL="1373188" indent="-341313"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4pPr>
      <a:lvl5pPr marL="1714500" indent="-341313"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userDrawn="1">
          <p15:clr>
            <a:srgbClr val="F26B43"/>
          </p15:clr>
        </p15:guide>
        <p15:guide id="2" pos="432" userDrawn="1">
          <p15:clr>
            <a:srgbClr val="F26B43"/>
          </p15:clr>
        </p15:guide>
        <p15:guide id="3" pos="7248" userDrawn="1">
          <p15:clr>
            <a:srgbClr val="F26B43"/>
          </p15:clr>
        </p15:guide>
        <p15:guide id="4" pos="768" userDrawn="1">
          <p15:clr>
            <a:srgbClr val="F26B43"/>
          </p15:clr>
        </p15:guide>
        <p15:guide id="5" pos="1008" userDrawn="1">
          <p15:clr>
            <a:srgbClr val="F26B43"/>
          </p15:clr>
        </p15:guide>
        <p15:guide id="6" pos="1368" userDrawn="1">
          <p15:clr>
            <a:srgbClr val="F26B43"/>
          </p15:clr>
        </p15:guide>
        <p15:guide id="7" pos="1608" userDrawn="1">
          <p15:clr>
            <a:srgbClr val="F26B43"/>
          </p15:clr>
        </p15:guide>
        <p15:guide id="8" pos="1944" userDrawn="1">
          <p15:clr>
            <a:srgbClr val="F26B43"/>
          </p15:clr>
        </p15:guide>
        <p15:guide id="9" pos="2184" userDrawn="1">
          <p15:clr>
            <a:srgbClr val="F26B43"/>
          </p15:clr>
        </p15:guide>
        <p15:guide id="10" pos="2544" userDrawn="1">
          <p15:clr>
            <a:srgbClr val="F26B43"/>
          </p15:clr>
        </p15:guide>
        <p15:guide id="11" pos="2784" userDrawn="1">
          <p15:clr>
            <a:srgbClr val="F26B43"/>
          </p15:clr>
        </p15:guide>
        <p15:guide id="12" pos="3120" userDrawn="1">
          <p15:clr>
            <a:srgbClr val="F26B43"/>
          </p15:clr>
        </p15:guide>
        <p15:guide id="13" pos="3360" userDrawn="1">
          <p15:clr>
            <a:srgbClr val="F26B43"/>
          </p15:clr>
        </p15:guide>
        <p15:guide id="14" pos="3720" userDrawn="1">
          <p15:clr>
            <a:srgbClr val="F26B43"/>
          </p15:clr>
        </p15:guide>
        <p15:guide id="15" pos="3960" userDrawn="1">
          <p15:clr>
            <a:srgbClr val="F26B43"/>
          </p15:clr>
        </p15:guide>
        <p15:guide id="16" pos="4320" userDrawn="1">
          <p15:clr>
            <a:srgbClr val="F26B43"/>
          </p15:clr>
        </p15:guide>
        <p15:guide id="17" pos="4560" userDrawn="1">
          <p15:clr>
            <a:srgbClr val="F26B43"/>
          </p15:clr>
        </p15:guide>
        <p15:guide id="18" pos="4896" userDrawn="1">
          <p15:clr>
            <a:srgbClr val="F26B43"/>
          </p15:clr>
        </p15:guide>
        <p15:guide id="19" pos="5136" userDrawn="1">
          <p15:clr>
            <a:srgbClr val="F26B43"/>
          </p15:clr>
        </p15:guide>
        <p15:guide id="20" pos="5496" userDrawn="1">
          <p15:clr>
            <a:srgbClr val="F26B43"/>
          </p15:clr>
        </p15:guide>
        <p15:guide id="21" pos="5736" userDrawn="1">
          <p15:clr>
            <a:srgbClr val="F26B43"/>
          </p15:clr>
        </p15:guide>
        <p15:guide id="22" pos="6072" userDrawn="1">
          <p15:clr>
            <a:srgbClr val="F26B43"/>
          </p15:clr>
        </p15:guide>
        <p15:guide id="23" pos="6312" userDrawn="1">
          <p15:clr>
            <a:srgbClr val="F26B43"/>
          </p15:clr>
        </p15:guide>
        <p15:guide id="24" pos="6672" userDrawn="1">
          <p15:clr>
            <a:srgbClr val="F26B43"/>
          </p15:clr>
        </p15:guide>
        <p15:guide id="25" pos="6912" userDrawn="1">
          <p15:clr>
            <a:srgbClr val="F26B43"/>
          </p15:clr>
        </p15:guide>
        <p15:guide id="26" orient="horz" pos="38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DE71633F-89C2-D443-A783-E6D80E402F40}"/>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907547255"/>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6" r:id="rId4"/>
    <p:sldLayoutId id="2147483673" r:id="rId5"/>
    <p:sldLayoutId id="2147483678" r:id="rId6"/>
    <p:sldLayoutId id="2147483679" r:id="rId7"/>
    <p:sldLayoutId id="2147483681" r:id="rId8"/>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9E9B580-C7EC-734A-A84D-D97940BC18C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55118255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Minion Pro" panose="02040503050306020203" pitchFamily="18" charset="0"/>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61A8965C-3ACE-0E4F-B84D-EFEBB77BE1B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4897377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725" r:id="rId4"/>
    <p:sldLayoutId id="2147483726" r:id="rId5"/>
    <p:sldLayoutId id="2147483727" r:id="rId6"/>
    <p:sldLayoutId id="2147483722" r:id="rId7"/>
    <p:sldLayoutId id="2147483723" r:id="rId8"/>
    <p:sldLayoutId id="2147483724" r:id="rId9"/>
    <p:sldLayoutId id="2147483719" r:id="rId10"/>
    <p:sldLayoutId id="2147483720" r:id="rId11"/>
    <p:sldLayoutId id="2147483721" r:id="rId12"/>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3539961"/>
      </p:ext>
    </p:extLst>
  </p:cSld>
  <p:clrMap bg1="lt1" tx1="dk1" bg2="lt2" tx2="dk2" accent1="accent1" accent2="accent2" accent3="accent3" accent4="accent4" accent5="accent5" accent6="accent6" hlink="hlink" folHlink="folHlink"/>
  <p:sldLayoutIdLst>
    <p:sldLayoutId id="2147483692" r:id="rId1"/>
    <p:sldLayoutId id="2147483700" r:id="rId2"/>
    <p:sldLayoutId id="2147483701" r:id="rId3"/>
    <p:sldLayoutId id="2147483702" r:id="rId4"/>
    <p:sldLayoutId id="2147483718" r:id="rId5"/>
    <p:sldLayoutId id="2147483717" r:id="rId6"/>
    <p:sldLayoutId id="2147483703" r:id="rId7"/>
    <p:sldLayoutId id="2147483704" r:id="rId8"/>
    <p:sldLayoutId id="2147483705" r:id="rId9"/>
    <p:sldLayoutId id="2147483706" r:id="rId10"/>
    <p:sldLayoutId id="2147483707" r:id="rId11"/>
    <p:sldLayoutId id="2147483708" r:id="rId12"/>
    <p:sldLayoutId id="2147483709" r:id="rId13"/>
    <p:sldLayoutId id="2147483728" r:id="rId14"/>
    <p:sldLayoutId id="2147483730" r:id="rId15"/>
    <p:sldLayoutId id="2147483731" r:id="rId16"/>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87805E49-DA53-814D-A542-A53F9A98FD7E}"/>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53533202"/>
      </p:ext>
    </p:extLst>
  </p:cSld>
  <p:clrMap bg1="lt1" tx1="dk1" bg2="lt2" tx2="dk2" accent1="accent1" accent2="accent2" accent3="accent3" accent4="accent4" accent5="accent5" accent6="accent6" hlink="hlink" folHlink="folHlink"/>
  <p:sldLayoutIdLst>
    <p:sldLayoutId id="2147483698" r:id="rId1"/>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2.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notesSlide" Target="../notesSlides/notesSlide1.xml"/><Relationship Id="rId4" Type="http://schemas.openxmlformats.org/officeDocument/2006/relationships/tags" Target="../tags/tag5.xml"/><Relationship Id="rId9"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hyperlink" Target="https://www.marketsandmarkets.com/Market-Reports/blockchain-technology-market-90100890.html" TargetMode="Externa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13" Type="http://schemas.openxmlformats.org/officeDocument/2006/relationships/image" Target="../media/image20.svg"/><Relationship Id="rId18" Type="http://schemas.openxmlformats.org/officeDocument/2006/relationships/diagramData" Target="../diagrams/data1.xml"/><Relationship Id="rId26" Type="http://schemas.openxmlformats.org/officeDocument/2006/relationships/image" Target="../media/image28.svg"/><Relationship Id="rId3" Type="http://schemas.openxmlformats.org/officeDocument/2006/relationships/image" Target="../media/image10.svg"/><Relationship Id="rId21" Type="http://schemas.openxmlformats.org/officeDocument/2006/relationships/diagramColors" Target="../diagrams/colors1.xml"/><Relationship Id="rId34" Type="http://schemas.openxmlformats.org/officeDocument/2006/relationships/image" Target="../media/image36.pn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5" Type="http://schemas.openxmlformats.org/officeDocument/2006/relationships/image" Target="../media/image27.png"/><Relationship Id="rId33" Type="http://schemas.openxmlformats.org/officeDocument/2006/relationships/image" Target="../media/image35.png"/><Relationship Id="rId2" Type="http://schemas.openxmlformats.org/officeDocument/2006/relationships/image" Target="../media/image9.png"/><Relationship Id="rId16" Type="http://schemas.openxmlformats.org/officeDocument/2006/relationships/image" Target="../media/image23.png"/><Relationship Id="rId20" Type="http://schemas.openxmlformats.org/officeDocument/2006/relationships/diagramQuickStyle" Target="../diagrams/quickStyle1.xml"/><Relationship Id="rId29" Type="http://schemas.openxmlformats.org/officeDocument/2006/relationships/image" Target="../media/image31.png"/><Relationship Id="rId1" Type="http://schemas.openxmlformats.org/officeDocument/2006/relationships/slideLayout" Target="../slideLayouts/slideLayout34.xml"/><Relationship Id="rId6" Type="http://schemas.openxmlformats.org/officeDocument/2006/relationships/image" Target="../media/image13.png"/><Relationship Id="rId11" Type="http://schemas.openxmlformats.org/officeDocument/2006/relationships/image" Target="../media/image18.svg"/><Relationship Id="rId24" Type="http://schemas.openxmlformats.org/officeDocument/2006/relationships/image" Target="../media/image26.svg"/><Relationship Id="rId32" Type="http://schemas.openxmlformats.org/officeDocument/2006/relationships/image" Target="../media/image34.png"/><Relationship Id="rId5" Type="http://schemas.openxmlformats.org/officeDocument/2006/relationships/image" Target="../media/image12.svg"/><Relationship Id="rId15" Type="http://schemas.openxmlformats.org/officeDocument/2006/relationships/image" Target="../media/image22.svg"/><Relationship Id="rId23" Type="http://schemas.openxmlformats.org/officeDocument/2006/relationships/image" Target="../media/image25.png"/><Relationship Id="rId28" Type="http://schemas.openxmlformats.org/officeDocument/2006/relationships/image" Target="../media/image30.svg"/><Relationship Id="rId10" Type="http://schemas.openxmlformats.org/officeDocument/2006/relationships/image" Target="../media/image17.png"/><Relationship Id="rId19" Type="http://schemas.openxmlformats.org/officeDocument/2006/relationships/diagramLayout" Target="../diagrams/layout1.xml"/><Relationship Id="rId31" Type="http://schemas.openxmlformats.org/officeDocument/2006/relationships/image" Target="../media/image33.pn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1.png"/><Relationship Id="rId22" Type="http://schemas.microsoft.com/office/2007/relationships/diagramDrawing" Target="../diagrams/drawing1.xml"/><Relationship Id="rId27" Type="http://schemas.openxmlformats.org/officeDocument/2006/relationships/image" Target="../media/image29.png"/><Relationship Id="rId30" Type="http://schemas.openxmlformats.org/officeDocument/2006/relationships/image" Target="../media/image32.svg"/><Relationship Id="rId35" Type="http://schemas.openxmlformats.org/officeDocument/2006/relationships/image" Target="../media/image37.png"/><Relationship Id="rId8"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3E15-EAF9-1C4B-AE0A-F65E503DCBD1}"/>
              </a:ext>
            </a:extLst>
          </p:cNvPr>
          <p:cNvSpPr>
            <a:spLocks noGrp="1"/>
          </p:cNvSpPr>
          <p:nvPr>
            <p:ph type="ctrTitle"/>
          </p:nvPr>
        </p:nvSpPr>
        <p:spPr>
          <a:xfrm>
            <a:off x="371475" y="1989000"/>
            <a:ext cx="7529513" cy="2880000"/>
          </a:xfrm>
        </p:spPr>
        <p:txBody>
          <a:bodyPr/>
          <a:lstStyle/>
          <a:p>
            <a:r>
              <a:rPr lang="en-US" sz="4000" dirty="0"/>
              <a:t>Food product traceability &amp; transparency system</a:t>
            </a:r>
            <a:br>
              <a:rPr lang="en-US" dirty="0"/>
            </a:br>
            <a:r>
              <a:rPr lang="en-US" sz="2000" dirty="0"/>
              <a:t>Powered by Neo Blockchain, IoT, AI and cloud technologies</a:t>
            </a:r>
          </a:p>
        </p:txBody>
      </p:sp>
      <p:sp>
        <p:nvSpPr>
          <p:cNvPr id="3" name="Subtitle 2">
            <a:extLst>
              <a:ext uri="{FF2B5EF4-FFF2-40B4-BE49-F238E27FC236}">
                <a16:creationId xmlns:a16="http://schemas.microsoft.com/office/drawing/2014/main" id="{6C20FDA1-D506-2840-A81D-5A1C7D1F8E7E}"/>
              </a:ext>
            </a:extLst>
          </p:cNvPr>
          <p:cNvSpPr>
            <a:spLocks noGrp="1"/>
          </p:cNvSpPr>
          <p:nvPr>
            <p:ph type="subTitle" idx="1"/>
          </p:nvPr>
        </p:nvSpPr>
        <p:spPr/>
        <p:txBody>
          <a:bodyPr/>
          <a:lstStyle/>
          <a:p>
            <a:r>
              <a:rPr lang="en-US" dirty="0"/>
              <a:t> Food Lover Squad - India</a:t>
            </a:r>
          </a:p>
        </p:txBody>
      </p:sp>
      <p:sp>
        <p:nvSpPr>
          <p:cNvPr id="4" name="Slide Number Placeholder 3">
            <a:extLst>
              <a:ext uri="{FF2B5EF4-FFF2-40B4-BE49-F238E27FC236}">
                <a16:creationId xmlns:a16="http://schemas.microsoft.com/office/drawing/2014/main" id="{6E0C5A93-9F76-C34F-94D8-F0E2C6172736}"/>
              </a:ext>
            </a:extLst>
          </p:cNvPr>
          <p:cNvSpPr>
            <a:spLocks noGrp="1"/>
          </p:cNvSpPr>
          <p:nvPr>
            <p:ph type="sldNum" sz="quarter" idx="10"/>
          </p:nvPr>
        </p:nvSpPr>
        <p:spPr/>
        <p:txBody>
          <a:bodyPr/>
          <a:lstStyle/>
          <a:p>
            <a:fld id="{58B792A5-9BAE-6942-BFE1-9FCDB51EA51E}" type="slidenum">
              <a:rPr lang="en-US" smtClean="0"/>
              <a:pPr/>
              <a:t>1</a:t>
            </a:fld>
            <a:endParaRPr lang="en-US" dirty="0"/>
          </a:p>
        </p:txBody>
      </p:sp>
      <p:pic>
        <p:nvPicPr>
          <p:cNvPr id="5" name="Picture 4">
            <a:extLst>
              <a:ext uri="{FF2B5EF4-FFF2-40B4-BE49-F238E27FC236}">
                <a16:creationId xmlns:a16="http://schemas.microsoft.com/office/drawing/2014/main" id="{18B9762A-8A73-4037-972D-EB33059F7735}"/>
              </a:ext>
            </a:extLst>
          </p:cNvPr>
          <p:cNvPicPr>
            <a:picLocks noChangeAspect="1"/>
          </p:cNvPicPr>
          <p:nvPr/>
        </p:nvPicPr>
        <p:blipFill>
          <a:blip r:embed="rId2"/>
          <a:stretch>
            <a:fillRect/>
          </a:stretch>
        </p:blipFill>
        <p:spPr>
          <a:xfrm>
            <a:off x="0" y="1"/>
            <a:ext cx="12192000" cy="7391400"/>
          </a:xfrm>
          <a:prstGeom prst="rect">
            <a:avLst/>
          </a:prstGeom>
        </p:spPr>
      </p:pic>
      <p:sp>
        <p:nvSpPr>
          <p:cNvPr id="7" name="Title 1">
            <a:extLst>
              <a:ext uri="{FF2B5EF4-FFF2-40B4-BE49-F238E27FC236}">
                <a16:creationId xmlns:a16="http://schemas.microsoft.com/office/drawing/2014/main" id="{1355F758-91B7-4DAA-AFED-DF0969ECB31C}"/>
              </a:ext>
            </a:extLst>
          </p:cNvPr>
          <p:cNvSpPr txBox="1">
            <a:spLocks/>
          </p:cNvSpPr>
          <p:nvPr/>
        </p:nvSpPr>
        <p:spPr>
          <a:xfrm>
            <a:off x="4743659" y="375638"/>
            <a:ext cx="7529513" cy="1704311"/>
          </a:xfrm>
          <a:prstGeom prst="rect">
            <a:avLst/>
          </a:prstGeom>
        </p:spPr>
        <p:txBody>
          <a:bodyPr vert="horz" lIns="0" tIns="0" rIns="0" bIns="0" rtlCol="0" anchor="ctr" anchorCtr="0">
            <a:noAutofit/>
          </a:bodyPr>
          <a:lstStyle>
            <a:lvl1pPr algn="l" defTabSz="914400" rtl="0" eaLnBrk="1" latinLnBrk="0" hangingPunct="1">
              <a:lnSpc>
                <a:spcPct val="97000"/>
              </a:lnSpc>
              <a:spcBef>
                <a:spcPct val="0"/>
              </a:spcBef>
              <a:buNone/>
              <a:defRPr sz="4300" b="0" i="0" kern="1200">
                <a:solidFill>
                  <a:schemeClr val="tx1"/>
                </a:solidFill>
                <a:latin typeface="Futura Next Book" panose="020B0502020204020303" pitchFamily="34" charset="77"/>
                <a:ea typeface="+mj-ea"/>
                <a:cs typeface="+mj-cs"/>
              </a:defRPr>
            </a:lvl1pPr>
          </a:lstStyle>
          <a:p>
            <a:r>
              <a:rPr lang="en-US" sz="4000" dirty="0">
                <a:solidFill>
                  <a:schemeClr val="bg1"/>
                </a:solidFill>
              </a:rPr>
              <a:t>Food product traceability &amp; transparency system</a:t>
            </a:r>
            <a:br>
              <a:rPr lang="en-US" dirty="0"/>
            </a:br>
            <a:r>
              <a:rPr lang="en-US" sz="2000" dirty="0">
                <a:solidFill>
                  <a:srgbClr val="00B050"/>
                </a:solidFill>
              </a:rPr>
              <a:t>Powered by Neo Blockchain, IoT, AI and cloud technologies</a:t>
            </a:r>
          </a:p>
        </p:txBody>
      </p:sp>
      <p:sp>
        <p:nvSpPr>
          <p:cNvPr id="8" name="Subtitle 2">
            <a:extLst>
              <a:ext uri="{FF2B5EF4-FFF2-40B4-BE49-F238E27FC236}">
                <a16:creationId xmlns:a16="http://schemas.microsoft.com/office/drawing/2014/main" id="{3ADDBF74-A5F5-4EF6-A49E-68AA0FE46349}"/>
              </a:ext>
            </a:extLst>
          </p:cNvPr>
          <p:cNvSpPr txBox="1">
            <a:spLocks/>
          </p:cNvSpPr>
          <p:nvPr/>
        </p:nvSpPr>
        <p:spPr>
          <a:xfrm>
            <a:off x="83598" y="6309360"/>
            <a:ext cx="7020000" cy="155448"/>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1000"/>
              </a:spcBef>
              <a:buFontTx/>
              <a:buNone/>
              <a:defRPr sz="1000" b="0" i="0" kern="1200" spc="200" baseline="0">
                <a:solidFill>
                  <a:schemeClr val="tx1"/>
                </a:solidFill>
                <a:latin typeface="FUTURANEXT-MEDIUM" panose="020B0602020204020303" pitchFamily="34" charset="77"/>
                <a:ea typeface="+mn-ea"/>
                <a:cs typeface="+mn-cs"/>
              </a:defRPr>
            </a:lvl1pPr>
            <a:lvl2pPr marL="457200" indent="0" algn="ctr" defTabSz="914400" rtl="0" eaLnBrk="1" latinLnBrk="0" hangingPunct="1">
              <a:lnSpc>
                <a:spcPts val="2200"/>
              </a:lnSpc>
              <a:spcBef>
                <a:spcPts val="500"/>
              </a:spcBef>
              <a:buFont typeface="Arial" panose="020B0604020202020204" pitchFamily="34" charset="0"/>
              <a:buNone/>
              <a:tabLst/>
              <a:defRPr sz="2000" b="0" i="0" kern="1200">
                <a:solidFill>
                  <a:schemeClr val="tx1"/>
                </a:solidFill>
                <a:latin typeface="Futura Next Book" panose="020B0502020204020303" pitchFamily="34" charset="77"/>
                <a:ea typeface="+mn-ea"/>
                <a:cs typeface="+mn-cs"/>
              </a:defRPr>
            </a:lvl2pPr>
            <a:lvl3pPr marL="914400" indent="0" algn="ctr" defTabSz="914400" rtl="0" eaLnBrk="1" latinLnBrk="0" hangingPunct="1">
              <a:lnSpc>
                <a:spcPts val="2200"/>
              </a:lnSpc>
              <a:spcBef>
                <a:spcPts val="500"/>
              </a:spcBef>
              <a:buFont typeface="Arial" panose="020B0604020202020204" pitchFamily="34" charset="0"/>
              <a:buNone/>
              <a:tabLst/>
              <a:defRPr sz="1800" b="0" i="0" kern="1200">
                <a:solidFill>
                  <a:schemeClr val="tx1"/>
                </a:solidFill>
                <a:latin typeface="Futura Next Book" panose="020B0502020204020303" pitchFamily="34" charset="77"/>
                <a:ea typeface="+mn-ea"/>
                <a:cs typeface="+mn-cs"/>
              </a:defRPr>
            </a:lvl3pPr>
            <a:lvl4pPr marL="1371600" indent="0" algn="ctr" defTabSz="914400" rtl="0" eaLnBrk="1" latinLnBrk="0" hangingPunct="1">
              <a:lnSpc>
                <a:spcPts val="2200"/>
              </a:lnSpc>
              <a:spcBef>
                <a:spcPts val="500"/>
              </a:spcBef>
              <a:buFont typeface="Arial" panose="020B0604020202020204" pitchFamily="34" charset="0"/>
              <a:buNone/>
              <a:tabLst/>
              <a:defRPr sz="1600" b="0" i="0" kern="1200">
                <a:solidFill>
                  <a:schemeClr val="tx1"/>
                </a:solidFill>
                <a:latin typeface="Futura Next Book" panose="020B0502020204020303" pitchFamily="34" charset="77"/>
                <a:ea typeface="+mn-ea"/>
                <a:cs typeface="+mn-cs"/>
              </a:defRPr>
            </a:lvl4pPr>
            <a:lvl5pPr marL="1828800" indent="0" algn="ctr" defTabSz="914400" rtl="0" eaLnBrk="1" latinLnBrk="0" hangingPunct="1">
              <a:lnSpc>
                <a:spcPts val="2200"/>
              </a:lnSpc>
              <a:spcBef>
                <a:spcPts val="500"/>
              </a:spcBef>
              <a:buFont typeface="Arial" panose="020B0604020202020204" pitchFamily="34" charset="0"/>
              <a:buNone/>
              <a:tabLst/>
              <a:defRPr sz="1600" b="0" i="0" kern="1200">
                <a:solidFill>
                  <a:schemeClr val="tx1"/>
                </a:solidFill>
                <a:latin typeface="Futura Next Book" panose="020B0502020204020303" pitchFamily="34"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 </a:t>
            </a:r>
            <a:r>
              <a:rPr lang="en-US" sz="1800" dirty="0"/>
              <a:t>Team- Food Lover Squad</a:t>
            </a:r>
          </a:p>
        </p:txBody>
      </p:sp>
      <p:pic>
        <p:nvPicPr>
          <p:cNvPr id="10" name="Picture 9" descr="Logo&#10;&#10;Description automatically generated">
            <a:extLst>
              <a:ext uri="{FF2B5EF4-FFF2-40B4-BE49-F238E27FC236}">
                <a16:creationId xmlns:a16="http://schemas.microsoft.com/office/drawing/2014/main" id="{DD4669EC-004C-4F8C-96EC-7B94E10E336F}"/>
              </a:ext>
            </a:extLst>
          </p:cNvPr>
          <p:cNvPicPr>
            <a:picLocks noChangeAspect="1"/>
          </p:cNvPicPr>
          <p:nvPr/>
        </p:nvPicPr>
        <p:blipFill>
          <a:blip r:embed="rId3"/>
          <a:stretch>
            <a:fillRect/>
          </a:stretch>
        </p:blipFill>
        <p:spPr>
          <a:xfrm>
            <a:off x="8272463" y="4238625"/>
            <a:ext cx="2619375" cy="2619375"/>
          </a:xfrm>
          <a:prstGeom prst="rect">
            <a:avLst/>
          </a:prstGeom>
        </p:spPr>
      </p:pic>
    </p:spTree>
    <p:extLst>
      <p:ext uri="{BB962C8B-B14F-4D97-AF65-F5344CB8AC3E}">
        <p14:creationId xmlns:p14="http://schemas.microsoft.com/office/powerpoint/2010/main" val="21815446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Title 1"/>
          <p:cNvSpPr txBox="1">
            <a:spLocks/>
          </p:cNvSpPr>
          <p:nvPr/>
        </p:nvSpPr>
        <p:spPr>
          <a:xfrm>
            <a:off x="-875586" y="89409"/>
            <a:ext cx="8556942" cy="706090"/>
          </a:xfrm>
          <a:prstGeom prst="rect">
            <a:avLst/>
          </a:prstGeom>
        </p:spPr>
        <p:txBody>
          <a:bodyPr vert="horz" lIns="0" tIns="0" rIns="0" bIns="0" rtlCol="0" anchor="b">
            <a:normAutofit/>
          </a:bodyPr>
          <a:lstStyle>
            <a:lvl1pPr algn="ctr" defTabSz="914400" rtl="0" eaLnBrk="1" latinLnBrk="0" hangingPunct="1">
              <a:lnSpc>
                <a:spcPct val="110000"/>
              </a:lnSpc>
              <a:spcBef>
                <a:spcPct val="0"/>
              </a:spcBef>
              <a:buNone/>
              <a:defRPr sz="6000" b="0" i="0" kern="1200">
                <a:solidFill>
                  <a:schemeClr val="bg1"/>
                </a:solidFill>
                <a:latin typeface="FuturaNext-Medium" panose="020B0602020204020303" pitchFamily="34" charset="77"/>
                <a:ea typeface="+mj-ea"/>
                <a:cs typeface="+mj-cs"/>
              </a:defRPr>
            </a:lvl1pPr>
          </a:lstStyle>
          <a:p>
            <a:r>
              <a:rPr lang="en-US" sz="3200" dirty="0">
                <a:solidFill>
                  <a:schemeClr val="accent1"/>
                </a:solidFill>
              </a:rPr>
              <a:t>Team – Food Lover Squad</a:t>
            </a:r>
          </a:p>
        </p:txBody>
      </p:sp>
      <p:sp>
        <p:nvSpPr>
          <p:cNvPr id="132" name="Rectangle 131"/>
          <p:cNvSpPr/>
          <p:nvPr/>
        </p:nvSpPr>
        <p:spPr bwMode="auto">
          <a:xfrm>
            <a:off x="3797324" y="3141434"/>
            <a:ext cx="4759618" cy="1188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defTabSz="914400" rtl="0" eaLnBrk="1" fontAlgn="base"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Calibri" panose="020F0502020204030204" pitchFamily="34" charset="0"/>
                <a:ea typeface="+mn-ea"/>
                <a:cs typeface="Arial" pitchFamily="34" charset="0"/>
              </a:rPr>
              <a:t>Brijesh Kumar</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Sr. Experience Lead</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Exp: 10 years</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Tech skills: ReactJS, NodeJS, Azure, UI/UX, Python, Blockchain</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Industry: Insurance , Education, Food industry supply chain</a:t>
            </a:r>
          </a:p>
        </p:txBody>
      </p:sp>
      <p:sp>
        <p:nvSpPr>
          <p:cNvPr id="133" name="Rectangle 132"/>
          <p:cNvSpPr/>
          <p:nvPr/>
        </p:nvSpPr>
        <p:spPr bwMode="auto">
          <a:xfrm>
            <a:off x="3797324" y="5054061"/>
            <a:ext cx="4059414"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defTabSz="914400" rtl="0" eaLnBrk="1" fontAlgn="base"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Calibri" panose="020F0502020204030204" pitchFamily="34" charset="0"/>
                <a:ea typeface="+mn-ea"/>
                <a:cs typeface="Arial" pitchFamily="34" charset="0"/>
              </a:rPr>
              <a:t>Chirag Khanna</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Sr. Technology Lead</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Exp: 7 years</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Tech skills: </a:t>
            </a:r>
            <a:r>
              <a:rPr lang="en-US" sz="1200" kern="0" dirty="0" err="1">
                <a:solidFill>
                  <a:srgbClr val="000000"/>
                </a:solidFill>
                <a:latin typeface="Calibri" panose="020F0502020204030204" pitchFamily="34" charset="0"/>
                <a:cs typeface="Arial" pitchFamily="34" charset="0"/>
              </a:rPr>
              <a:t>.Net</a:t>
            </a:r>
            <a:r>
              <a:rPr lang="en-US" sz="1200" kern="0" dirty="0">
                <a:solidFill>
                  <a:srgbClr val="000000"/>
                </a:solidFill>
                <a:latin typeface="Calibri" panose="020F0502020204030204" pitchFamily="34" charset="0"/>
                <a:cs typeface="Arial" pitchFamily="34" charset="0"/>
              </a:rPr>
              <a:t>, Python, Cloud, AI/ML, Blockchain</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Industry: Insurance , Hospitality</a:t>
            </a:r>
          </a:p>
        </p:txBody>
      </p:sp>
      <p:sp>
        <p:nvSpPr>
          <p:cNvPr id="137" name="Oval 136"/>
          <p:cNvSpPr/>
          <p:nvPr/>
        </p:nvSpPr>
        <p:spPr>
          <a:xfrm>
            <a:off x="1778364" y="4821763"/>
            <a:ext cx="1624521" cy="1462412"/>
          </a:xfrm>
          <a:prstGeom prst="ellipse">
            <a:avLst/>
          </a:prstGeom>
          <a:blipFill rotWithShape="1">
            <a:blip r:embed="rId2"/>
            <a:stretch>
              <a:fillRect/>
            </a:stretch>
          </a:blipFill>
        </p:spPr>
        <p:style>
          <a:lnRef idx="0">
            <a:schemeClr val="lt1">
              <a:hueOff val="0"/>
              <a:satOff val="0"/>
              <a:lumOff val="0"/>
              <a:alphaOff val="0"/>
            </a:schemeClr>
          </a:lnRef>
          <a:fillRef idx="1">
            <a:scrgbClr r="0" g="0" b="0"/>
          </a:fillRef>
          <a:effectRef idx="3">
            <a:schemeClr val="accent1">
              <a:tint val="50000"/>
              <a:hueOff val="0"/>
              <a:satOff val="0"/>
              <a:lumOff val="0"/>
              <a:alphaOff val="0"/>
            </a:schemeClr>
          </a:effectRef>
          <a:fontRef idx="minor">
            <a:schemeClr val="lt1">
              <a:hueOff val="0"/>
              <a:satOff val="0"/>
              <a:lumOff val="0"/>
              <a:alphaOff val="0"/>
            </a:schemeClr>
          </a:fontRef>
        </p:style>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8860" y="2911752"/>
            <a:ext cx="1724025" cy="1647825"/>
          </a:xfrm>
          <a:prstGeom prst="rect">
            <a:avLst/>
          </a:prstGeom>
        </p:spPr>
      </p:pic>
      <p:sp>
        <p:nvSpPr>
          <p:cNvPr id="17" name="Rectangle 16"/>
          <p:cNvSpPr/>
          <p:nvPr/>
        </p:nvSpPr>
        <p:spPr bwMode="auto">
          <a:xfrm>
            <a:off x="3797324" y="1352608"/>
            <a:ext cx="5452973"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defTabSz="914400" rtl="0" eaLnBrk="1" fontAlgn="base"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Calibri" panose="020F0502020204030204" pitchFamily="34" charset="0"/>
                <a:ea typeface="+mn-ea"/>
                <a:cs typeface="Arial" pitchFamily="34" charset="0"/>
              </a:rPr>
              <a:t>Piyush Jain</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Sr. Engineering Lead</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Exp: 16 years</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Tech skills: C#, </a:t>
            </a:r>
            <a:r>
              <a:rPr lang="en-US" sz="1200" kern="0" dirty="0" err="1">
                <a:solidFill>
                  <a:srgbClr val="000000"/>
                </a:solidFill>
                <a:latin typeface="Calibri" panose="020F0502020204030204" pitchFamily="34" charset="0"/>
                <a:cs typeface="Arial" pitchFamily="34" charset="0"/>
              </a:rPr>
              <a:t>.Net</a:t>
            </a:r>
            <a:r>
              <a:rPr lang="en-US" sz="1200" kern="0" dirty="0">
                <a:solidFill>
                  <a:srgbClr val="000000"/>
                </a:solidFill>
                <a:latin typeface="Calibri" panose="020F0502020204030204" pitchFamily="34" charset="0"/>
                <a:cs typeface="Arial" pitchFamily="34" charset="0"/>
              </a:rPr>
              <a:t>, Cloud, Blockchain, AI/ML, Python</a:t>
            </a:r>
          </a:p>
          <a:p>
            <a:pPr marL="171450" lvl="0" indent="-171450" fontAlgn="base">
              <a:lnSpc>
                <a:spcPct val="90000"/>
              </a:lnSpc>
              <a:buFont typeface="Arial" panose="020B0604020202020204" pitchFamily="34" charset="0"/>
              <a:buChar char="•"/>
              <a:defRPr/>
            </a:pPr>
            <a:r>
              <a:rPr lang="en-US" sz="1200" kern="0" dirty="0">
                <a:solidFill>
                  <a:srgbClr val="000000"/>
                </a:solidFill>
                <a:latin typeface="Calibri" panose="020F0502020204030204" pitchFamily="34" charset="0"/>
                <a:cs typeface="Arial" pitchFamily="34" charset="0"/>
              </a:rPr>
              <a:t>Industry: Insurance , Airlines, Food industry supply chain</a:t>
            </a:r>
          </a:p>
        </p:txBody>
      </p:sp>
      <p:sp>
        <p:nvSpPr>
          <p:cNvPr id="18" name="Oval 17"/>
          <p:cNvSpPr/>
          <p:nvPr/>
        </p:nvSpPr>
        <p:spPr>
          <a:xfrm>
            <a:off x="1778364" y="1166622"/>
            <a:ext cx="1624521" cy="1482944"/>
          </a:xfrm>
          <a:prstGeom prst="ellipse">
            <a:avLst/>
          </a:prstGeom>
          <a:blipFill rotWithShape="1">
            <a:blip r:embed="rId4"/>
            <a:stretch>
              <a:fillRect/>
            </a:stretch>
          </a:blipFill>
        </p:spPr>
        <p:style>
          <a:lnRef idx="0">
            <a:schemeClr val="lt1">
              <a:hueOff val="0"/>
              <a:satOff val="0"/>
              <a:lumOff val="0"/>
              <a:alphaOff val="0"/>
            </a:schemeClr>
          </a:lnRef>
          <a:fillRef idx="1">
            <a:scrgbClr r="0" g="0" b="0"/>
          </a:fillRef>
          <a:effectRef idx="3">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65531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0C1F2-AE22-4BA9-86E0-57AEDEFDB659}"/>
              </a:ext>
            </a:extLst>
          </p:cNvPr>
          <p:cNvSpPr>
            <a:spLocks noGrp="1"/>
          </p:cNvSpPr>
          <p:nvPr>
            <p:ph type="title"/>
          </p:nvPr>
        </p:nvSpPr>
        <p:spPr>
          <a:xfrm>
            <a:off x="230050" y="217511"/>
            <a:ext cx="11763682" cy="843877"/>
          </a:xfrm>
        </p:spPr>
        <p:txBody>
          <a:bodyPr>
            <a:normAutofit fontScale="90000"/>
          </a:bodyPr>
          <a:lstStyle/>
          <a:p>
            <a:r>
              <a:rPr lang="en-US" sz="2700" dirty="0">
                <a:solidFill>
                  <a:srgbClr val="00B050"/>
                </a:solidFill>
              </a:rPr>
              <a:t>Use case: Food product industry concerns – Quality, Safety and loosing consumer’s trust due to lack of traceability and transparency in current system</a:t>
            </a:r>
            <a:br>
              <a:rPr lang="en-US" dirty="0"/>
            </a:br>
            <a:br>
              <a:rPr lang="en-US" dirty="0"/>
            </a:br>
            <a:br>
              <a:rPr lang="en-US" dirty="0"/>
            </a:br>
            <a:endParaRPr lang="en-US" dirty="0"/>
          </a:p>
        </p:txBody>
      </p:sp>
      <p:grpSp>
        <p:nvGrpSpPr>
          <p:cNvPr id="5" name="Group 4"/>
          <p:cNvGrpSpPr>
            <a:grpSpLocks noChangeAspect="1"/>
          </p:cNvGrpSpPr>
          <p:nvPr/>
        </p:nvGrpSpPr>
        <p:grpSpPr>
          <a:xfrm>
            <a:off x="812201" y="1222655"/>
            <a:ext cx="10197256" cy="5314499"/>
            <a:chOff x="-84034" y="858001"/>
            <a:chExt cx="13128542" cy="8604488"/>
          </a:xfrm>
        </p:grpSpPr>
        <p:grpSp>
          <p:nvGrpSpPr>
            <p:cNvPr id="14" name="Group 13">
              <a:extLst>
                <a:ext uri="{FF2B5EF4-FFF2-40B4-BE49-F238E27FC236}">
                  <a16:creationId xmlns:a16="http://schemas.microsoft.com/office/drawing/2014/main" id="{52F6771D-DEC1-44AE-9374-D290D151D852}"/>
                </a:ext>
              </a:extLst>
            </p:cNvPr>
            <p:cNvGrpSpPr/>
            <p:nvPr/>
          </p:nvGrpSpPr>
          <p:grpSpPr>
            <a:xfrm>
              <a:off x="4031114" y="858001"/>
              <a:ext cx="4665793" cy="5183399"/>
              <a:chOff x="3763105" y="1425772"/>
              <a:chExt cx="4665793" cy="5183399"/>
            </a:xfrm>
          </p:grpSpPr>
          <p:sp>
            <p:nvSpPr>
              <p:cNvPr id="3" name="Isosceles Triangle 2">
                <a:extLst>
                  <a:ext uri="{FF2B5EF4-FFF2-40B4-BE49-F238E27FC236}">
                    <a16:creationId xmlns:a16="http://schemas.microsoft.com/office/drawing/2014/main" id="{DB00D02F-E6B8-4D61-979E-CAFB5EBE138A}"/>
                  </a:ext>
                </a:extLst>
              </p:cNvPr>
              <p:cNvSpPr>
                <a:spLocks/>
              </p:cNvSpPr>
              <p:nvPr/>
            </p:nvSpPr>
            <p:spPr>
              <a:xfrm>
                <a:off x="4030739" y="1425772"/>
                <a:ext cx="3661836" cy="3414895"/>
              </a:xfrm>
              <a:prstGeom prst="triangle">
                <a:avLst/>
              </a:prstGeom>
              <a:ln>
                <a:solidFill>
                  <a:srgbClr val="00B05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B050"/>
                  </a:solidFill>
                  <a:effectLst/>
                  <a:uLnTx/>
                  <a:uFillTx/>
                  <a:latin typeface="Calibri"/>
                  <a:ea typeface="+mn-ea"/>
                  <a:cs typeface="+mn-cs"/>
                </a:endParaRPr>
              </a:p>
            </p:txBody>
          </p:sp>
          <p:sp>
            <p:nvSpPr>
              <p:cNvPr id="7" name="Isosceles Triangle 6">
                <a:extLst>
                  <a:ext uri="{FF2B5EF4-FFF2-40B4-BE49-F238E27FC236}">
                    <a16:creationId xmlns:a16="http://schemas.microsoft.com/office/drawing/2014/main" id="{AF1DF954-2DDB-43C0-95D2-B5917FA38C8D}"/>
                  </a:ext>
                </a:extLst>
              </p:cNvPr>
              <p:cNvSpPr>
                <a:spLocks noChangeAspect="1"/>
              </p:cNvSpPr>
              <p:nvPr/>
            </p:nvSpPr>
            <p:spPr>
              <a:xfrm rot="10800000">
                <a:off x="5007519" y="5136521"/>
                <a:ext cx="1708273" cy="1472650"/>
              </a:xfrm>
              <a:prstGeom prst="triangle">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Isosceles Triangle 7">
                <a:extLst>
                  <a:ext uri="{FF2B5EF4-FFF2-40B4-BE49-F238E27FC236}">
                    <a16:creationId xmlns:a16="http://schemas.microsoft.com/office/drawing/2014/main" id="{986E559F-4556-4871-9450-FF2D6F639BAD}"/>
                  </a:ext>
                </a:extLst>
              </p:cNvPr>
              <p:cNvSpPr>
                <a:spLocks noChangeAspect="1"/>
              </p:cNvSpPr>
              <p:nvPr/>
            </p:nvSpPr>
            <p:spPr>
              <a:xfrm rot="3941005">
                <a:off x="6838436" y="1797108"/>
                <a:ext cx="1708273" cy="1472650"/>
              </a:xfrm>
              <a:prstGeom prst="triangle">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Isosceles Triangle 8">
                <a:extLst>
                  <a:ext uri="{FF2B5EF4-FFF2-40B4-BE49-F238E27FC236}">
                    <a16:creationId xmlns:a16="http://schemas.microsoft.com/office/drawing/2014/main" id="{5D8D7559-7C7E-465E-83E1-5D1C65A99994}"/>
                  </a:ext>
                </a:extLst>
              </p:cNvPr>
              <p:cNvSpPr>
                <a:spLocks noChangeAspect="1"/>
              </p:cNvSpPr>
              <p:nvPr/>
            </p:nvSpPr>
            <p:spPr>
              <a:xfrm rot="4024792">
                <a:off x="3645293" y="1797108"/>
                <a:ext cx="1708273" cy="147265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11" name="Oval 10">
              <a:extLst>
                <a:ext uri="{FF2B5EF4-FFF2-40B4-BE49-F238E27FC236}">
                  <a16:creationId xmlns:a16="http://schemas.microsoft.com/office/drawing/2014/main" id="{65F132E7-3E40-4285-9349-F9F584F2A253}"/>
                </a:ext>
              </a:extLst>
            </p:cNvPr>
            <p:cNvSpPr>
              <a:spLocks noChangeAspect="1"/>
            </p:cNvSpPr>
            <p:nvPr/>
          </p:nvSpPr>
          <p:spPr>
            <a:xfrm>
              <a:off x="3482672" y="1352021"/>
              <a:ext cx="567771" cy="567771"/>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64646"/>
                  </a:solidFill>
                  <a:effectLst/>
                  <a:uLnTx/>
                  <a:uFillTx/>
                  <a:latin typeface="Calibri"/>
                  <a:ea typeface="+mn-ea"/>
                  <a:cs typeface="+mn-cs"/>
                </a:rPr>
                <a:t>1</a:t>
              </a:r>
            </a:p>
          </p:txBody>
        </p:sp>
        <p:sp>
          <p:nvSpPr>
            <p:cNvPr id="12" name="Oval 11">
              <a:extLst>
                <a:ext uri="{FF2B5EF4-FFF2-40B4-BE49-F238E27FC236}">
                  <a16:creationId xmlns:a16="http://schemas.microsoft.com/office/drawing/2014/main" id="{50EE4490-25C8-4CAD-8ADA-5E6B37640E1E}"/>
                </a:ext>
              </a:extLst>
            </p:cNvPr>
            <p:cNvSpPr>
              <a:spLocks noChangeAspect="1"/>
            </p:cNvSpPr>
            <p:nvPr/>
          </p:nvSpPr>
          <p:spPr>
            <a:xfrm>
              <a:off x="8141557" y="1352021"/>
              <a:ext cx="567771" cy="567771"/>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64646"/>
                  </a:solidFill>
                  <a:effectLst/>
                  <a:uLnTx/>
                  <a:uFillTx/>
                  <a:latin typeface="Calibri"/>
                  <a:ea typeface="+mn-ea"/>
                  <a:cs typeface="+mn-cs"/>
                </a:rPr>
                <a:t>2</a:t>
              </a:r>
            </a:p>
          </p:txBody>
        </p:sp>
        <p:sp>
          <p:nvSpPr>
            <p:cNvPr id="13" name="Oval 12">
              <a:extLst>
                <a:ext uri="{FF2B5EF4-FFF2-40B4-BE49-F238E27FC236}">
                  <a16:creationId xmlns:a16="http://schemas.microsoft.com/office/drawing/2014/main" id="{69ECA539-91F4-4470-ABC7-A5ADBDDB9418}"/>
                </a:ext>
              </a:extLst>
            </p:cNvPr>
            <p:cNvSpPr>
              <a:spLocks noChangeAspect="1"/>
            </p:cNvSpPr>
            <p:nvPr/>
          </p:nvSpPr>
          <p:spPr>
            <a:xfrm>
              <a:off x="5845778" y="5561269"/>
              <a:ext cx="567770" cy="567772"/>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64646"/>
                  </a:solidFill>
                  <a:effectLst/>
                  <a:uLnTx/>
                  <a:uFillTx/>
                  <a:latin typeface="Calibri"/>
                  <a:ea typeface="+mn-ea"/>
                  <a:cs typeface="+mn-cs"/>
                </a:rPr>
                <a:t>3</a:t>
              </a:r>
            </a:p>
          </p:txBody>
        </p:sp>
        <p:grpSp>
          <p:nvGrpSpPr>
            <p:cNvPr id="69" name="Group 68">
              <a:extLst>
                <a:ext uri="{FF2B5EF4-FFF2-40B4-BE49-F238E27FC236}">
                  <a16:creationId xmlns:a16="http://schemas.microsoft.com/office/drawing/2014/main" id="{C23A55B6-675C-4DA7-B340-2E4E54FE3EB6}"/>
                </a:ext>
              </a:extLst>
            </p:cNvPr>
            <p:cNvGrpSpPr/>
            <p:nvPr/>
          </p:nvGrpSpPr>
          <p:grpSpPr>
            <a:xfrm>
              <a:off x="-84034" y="1613698"/>
              <a:ext cx="4055650" cy="5429701"/>
              <a:chOff x="-17507" y="2236872"/>
              <a:chExt cx="4055650" cy="5429701"/>
            </a:xfrm>
          </p:grpSpPr>
          <p:sp>
            <p:nvSpPr>
              <p:cNvPr id="67" name="Rectangle 66">
                <a:extLst>
                  <a:ext uri="{FF2B5EF4-FFF2-40B4-BE49-F238E27FC236}">
                    <a16:creationId xmlns:a16="http://schemas.microsoft.com/office/drawing/2014/main" id="{D08EEF81-D486-40A4-A59D-C4EBEB219063}"/>
                  </a:ext>
                </a:extLst>
              </p:cNvPr>
              <p:cNvSpPr/>
              <p:nvPr/>
            </p:nvSpPr>
            <p:spPr>
              <a:xfrm>
                <a:off x="-17507" y="2982473"/>
                <a:ext cx="4055650" cy="4684100"/>
              </a:xfrm>
              <a:prstGeom prst="rect">
                <a:avLst/>
              </a:prstGeom>
            </p:spPr>
            <p:txBody>
              <a:bodyPr wrap="square">
                <a:spAutoFit/>
              </a:bodyPr>
              <a:lstStyle/>
              <a:p>
                <a:pPr marL="285750" lvl="0" indent="-285750">
                  <a:buFont typeface="Arial" panose="020B0604020202020204" pitchFamily="34" charset="0"/>
                  <a:buChar char="•"/>
                </a:pPr>
                <a:r>
                  <a:rPr lang="en-US" sz="1400" dirty="0"/>
                  <a:t>Lack of data for food product procurement, processing and Quality check parameters of the product that they are eating.</a:t>
                </a:r>
              </a:p>
              <a:p>
                <a:pPr marL="285750" lvl="0" indent="-285750">
                  <a:buFont typeface="Arial" panose="020B0604020202020204" pitchFamily="34" charset="0"/>
                  <a:buChar char="•"/>
                </a:pPr>
                <a:r>
                  <a:rPr lang="en-US" sz="1400" dirty="0"/>
                  <a:t>Consumer must relay on the company unstructured data to trust on the product quality.</a:t>
                </a:r>
              </a:p>
              <a:p>
                <a:pPr marL="285750" lvl="0" indent="-285750">
                  <a:buFont typeface="Arial" panose="020B0604020202020204" pitchFamily="34" charset="0"/>
                  <a:buChar char="•"/>
                </a:pPr>
                <a:r>
                  <a:rPr lang="en-US" sz="1400" dirty="0"/>
                  <a:t>Not able to find complete trace history of the product.</a:t>
                </a:r>
              </a:p>
              <a:p>
                <a:pPr marL="285750" lvl="0" indent="-285750">
                  <a:buFont typeface="Arial" panose="020B0604020202020204" pitchFamily="34" charset="0"/>
                  <a:buChar char="•"/>
                </a:pPr>
                <a:r>
                  <a:rPr lang="en-US" sz="1400" dirty="0"/>
                  <a:t>What are the quality checks done at various stages in supply chain.</a:t>
                </a:r>
              </a:p>
            </p:txBody>
          </p:sp>
          <p:sp>
            <p:nvSpPr>
              <p:cNvPr id="68" name="Rectangle 67">
                <a:extLst>
                  <a:ext uri="{FF2B5EF4-FFF2-40B4-BE49-F238E27FC236}">
                    <a16:creationId xmlns:a16="http://schemas.microsoft.com/office/drawing/2014/main" id="{5BD49C6B-2E3A-48BE-8B6B-517C4428B95E}"/>
                  </a:ext>
                </a:extLst>
              </p:cNvPr>
              <p:cNvSpPr/>
              <p:nvPr/>
            </p:nvSpPr>
            <p:spPr>
              <a:xfrm>
                <a:off x="284544" y="2236872"/>
                <a:ext cx="3373457" cy="6976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00B050"/>
                    </a:solidFill>
                    <a:effectLst/>
                    <a:uLnTx/>
                    <a:uFillTx/>
                    <a:latin typeface="Calibri"/>
                    <a:ea typeface="+mn-ea"/>
                    <a:cs typeface="+mn-cs"/>
                  </a:rPr>
                  <a:t>Consumer Concerns</a:t>
                </a:r>
              </a:p>
            </p:txBody>
          </p:sp>
        </p:grpSp>
        <p:grpSp>
          <p:nvGrpSpPr>
            <p:cNvPr id="70" name="Group 69">
              <a:extLst>
                <a:ext uri="{FF2B5EF4-FFF2-40B4-BE49-F238E27FC236}">
                  <a16:creationId xmlns:a16="http://schemas.microsoft.com/office/drawing/2014/main" id="{797246ED-DDB1-40A7-A3E1-6CEA951DB44D}"/>
                </a:ext>
              </a:extLst>
            </p:cNvPr>
            <p:cNvGrpSpPr/>
            <p:nvPr/>
          </p:nvGrpSpPr>
          <p:grpSpPr>
            <a:xfrm>
              <a:off x="3859160" y="6072524"/>
              <a:ext cx="5057775" cy="3389965"/>
              <a:chOff x="-2372481" y="3809657"/>
              <a:chExt cx="5057775" cy="3389965"/>
            </a:xfrm>
          </p:grpSpPr>
          <p:sp>
            <p:nvSpPr>
              <p:cNvPr id="71" name="Rectangle 70">
                <a:extLst>
                  <a:ext uri="{FF2B5EF4-FFF2-40B4-BE49-F238E27FC236}">
                    <a16:creationId xmlns:a16="http://schemas.microsoft.com/office/drawing/2014/main" id="{579D8989-217E-43EF-9099-FAAE503DFE8A}"/>
                  </a:ext>
                </a:extLst>
              </p:cNvPr>
              <p:cNvSpPr/>
              <p:nvPr/>
            </p:nvSpPr>
            <p:spPr>
              <a:xfrm>
                <a:off x="-2372481" y="4957233"/>
                <a:ext cx="4631993" cy="2242389"/>
              </a:xfrm>
              <a:prstGeom prst="rect">
                <a:avLst/>
              </a:prstGeom>
            </p:spPr>
            <p:txBody>
              <a:bodyPr wrap="square">
                <a:spAutoFit/>
              </a:bodyPr>
              <a:lstStyle/>
              <a:p>
                <a:pPr marL="285750" lvl="0" indent="-285750">
                  <a:buFont typeface="Arial" panose="020B0604020202020204" pitchFamily="34" charset="0"/>
                  <a:buChar char="•"/>
                </a:pPr>
                <a:r>
                  <a:rPr lang="en-US" sz="1400" dirty="0"/>
                  <a:t>Difficult to find specialists and various tools to inspect different kind of food products and get them certified time to time. </a:t>
                </a:r>
              </a:p>
              <a:p>
                <a:pPr marL="285750" lvl="0" indent="-285750">
                  <a:buFont typeface="Arial" panose="020B0604020202020204" pitchFamily="34" charset="0"/>
                  <a:buChar char="•"/>
                </a:pPr>
                <a:r>
                  <a:rPr lang="en-US" sz="1400" dirty="0"/>
                  <a:t>Difficult to prove that specific Food product is 100% safe to eat or not?</a:t>
                </a:r>
              </a:p>
            </p:txBody>
          </p:sp>
          <p:sp>
            <p:nvSpPr>
              <p:cNvPr id="72" name="Rectangle 71">
                <a:extLst>
                  <a:ext uri="{FF2B5EF4-FFF2-40B4-BE49-F238E27FC236}">
                    <a16:creationId xmlns:a16="http://schemas.microsoft.com/office/drawing/2014/main" id="{F10477F1-1AB0-4C06-89BC-5DC798C76DE6}"/>
                  </a:ext>
                </a:extLst>
              </p:cNvPr>
              <p:cNvSpPr/>
              <p:nvPr/>
            </p:nvSpPr>
            <p:spPr>
              <a:xfrm>
                <a:off x="-2030027" y="3809657"/>
                <a:ext cx="4715321" cy="124577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00B050"/>
                    </a:solidFill>
                    <a:effectLst/>
                    <a:uLnTx/>
                    <a:uFillTx/>
                    <a:latin typeface="Calibri"/>
                    <a:ea typeface="+mn-ea"/>
                    <a:cs typeface="+mn-cs"/>
                  </a:rPr>
                  <a:t>Government Agencies Concerns to Ensure Quality</a:t>
                </a:r>
              </a:p>
            </p:txBody>
          </p:sp>
        </p:grpSp>
        <p:grpSp>
          <p:nvGrpSpPr>
            <p:cNvPr id="73" name="Group 72">
              <a:extLst>
                <a:ext uri="{FF2B5EF4-FFF2-40B4-BE49-F238E27FC236}">
                  <a16:creationId xmlns:a16="http://schemas.microsoft.com/office/drawing/2014/main" id="{9FBF0F8E-D23C-4F62-A09A-76F600A53125}"/>
                </a:ext>
              </a:extLst>
            </p:cNvPr>
            <p:cNvGrpSpPr/>
            <p:nvPr/>
          </p:nvGrpSpPr>
          <p:grpSpPr>
            <a:xfrm>
              <a:off x="8610401" y="1843538"/>
              <a:ext cx="4434107" cy="5356201"/>
              <a:chOff x="424846" y="2360881"/>
              <a:chExt cx="4434107" cy="5356201"/>
            </a:xfrm>
          </p:grpSpPr>
          <p:sp>
            <p:nvSpPr>
              <p:cNvPr id="74" name="Rectangle 73">
                <a:extLst>
                  <a:ext uri="{FF2B5EF4-FFF2-40B4-BE49-F238E27FC236}">
                    <a16:creationId xmlns:a16="http://schemas.microsoft.com/office/drawing/2014/main" id="{DD8084CF-F6E5-4497-8D0F-144E582FE044}"/>
                  </a:ext>
                </a:extLst>
              </p:cNvPr>
              <p:cNvSpPr/>
              <p:nvPr/>
            </p:nvSpPr>
            <p:spPr>
              <a:xfrm>
                <a:off x="424846" y="2983152"/>
                <a:ext cx="4125568" cy="4733930"/>
              </a:xfrm>
              <a:prstGeom prst="rect">
                <a:avLst/>
              </a:prstGeom>
            </p:spPr>
            <p:txBody>
              <a:bodyPr wrap="square">
                <a:spAutoFit/>
              </a:bodyPr>
              <a:lstStyle/>
              <a:p>
                <a:pPr marL="285750" lvl="0" indent="-285750">
                  <a:buFont typeface="Arial" panose="020B0604020202020204" pitchFamily="34" charset="0"/>
                  <a:buChar char="•"/>
                </a:pPr>
                <a:r>
                  <a:rPr lang="en-US" sz="1400" dirty="0"/>
                  <a:t>Due to lots of different systems involve in Food processing and supply chain, it is difficult to maintain all records on single platform.</a:t>
                </a:r>
              </a:p>
              <a:p>
                <a:pPr marL="285750" lvl="0" indent="-285750">
                  <a:buFont typeface="Arial" panose="020B0604020202020204" pitchFamily="34" charset="0"/>
                  <a:buChar char="•"/>
                </a:pPr>
                <a:r>
                  <a:rPr lang="en-US" sz="1400" dirty="0"/>
                  <a:t>Due to lack of data and transparency for food product companies are losing trust to their consumers. </a:t>
                </a:r>
              </a:p>
              <a:p>
                <a:pPr marL="285750" lvl="0" indent="-285750">
                  <a:buFont typeface="Arial" panose="020B0604020202020204" pitchFamily="34" charset="0"/>
                  <a:buChar char="•"/>
                </a:pPr>
                <a:r>
                  <a:rPr lang="en-US" sz="1400" dirty="0"/>
                  <a:t>Difficult to stand in competitive market where every other company is trying to mobilize the consumers</a:t>
                </a:r>
                <a:r>
                  <a:rPr kumimoji="0" lang="en-US" sz="1600" b="0" i="0" u="none" strike="noStrike" kern="0" cap="none" spc="0" normalizeH="0" baseline="0" noProof="0" dirty="0">
                    <a:ln>
                      <a:noFill/>
                    </a:ln>
                    <a:solidFill>
                      <a:prstClr val="black"/>
                    </a:solidFill>
                    <a:effectLst/>
                    <a:uLnTx/>
                    <a:uFillTx/>
                    <a:latin typeface="Calibri"/>
                  </a:rPr>
                  <a:t>.</a:t>
                </a:r>
              </a:p>
            </p:txBody>
          </p:sp>
          <p:sp>
            <p:nvSpPr>
              <p:cNvPr id="75" name="Rectangle 74">
                <a:extLst>
                  <a:ext uri="{FF2B5EF4-FFF2-40B4-BE49-F238E27FC236}">
                    <a16:creationId xmlns:a16="http://schemas.microsoft.com/office/drawing/2014/main" id="{64C77A5C-0F83-49EB-B791-36C66F1CC56E}"/>
                  </a:ext>
                </a:extLst>
              </p:cNvPr>
              <p:cNvSpPr/>
              <p:nvPr/>
            </p:nvSpPr>
            <p:spPr>
              <a:xfrm>
                <a:off x="728433" y="2360881"/>
                <a:ext cx="4130520" cy="6976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00B050"/>
                    </a:solidFill>
                    <a:effectLst/>
                    <a:uLnTx/>
                    <a:uFillTx/>
                    <a:latin typeface="Calibri"/>
                    <a:ea typeface="+mn-ea"/>
                    <a:cs typeface="+mn-cs"/>
                  </a:rPr>
                  <a:t>Food Industry</a:t>
                </a:r>
                <a:r>
                  <a:rPr kumimoji="0" lang="en-US" sz="2200" b="1" i="0" u="none" strike="noStrike" kern="0" cap="none" spc="0" normalizeH="0" noProof="0" dirty="0">
                    <a:ln>
                      <a:noFill/>
                    </a:ln>
                    <a:solidFill>
                      <a:srgbClr val="00B050"/>
                    </a:solidFill>
                    <a:effectLst/>
                    <a:uLnTx/>
                    <a:uFillTx/>
                    <a:latin typeface="Calibri"/>
                    <a:ea typeface="+mn-ea"/>
                    <a:cs typeface="+mn-cs"/>
                  </a:rPr>
                  <a:t> Concerns</a:t>
                </a:r>
                <a:endParaRPr kumimoji="0" lang="en-US" sz="2200" b="1" i="0" u="none" strike="noStrike" kern="0" cap="none" spc="0" normalizeH="0" baseline="0" noProof="0" dirty="0">
                  <a:ln>
                    <a:noFill/>
                  </a:ln>
                  <a:solidFill>
                    <a:srgbClr val="00B050"/>
                  </a:solidFill>
                  <a:effectLst/>
                  <a:uLnTx/>
                  <a:uFillTx/>
                  <a:latin typeface="Calibri"/>
                  <a:ea typeface="+mn-ea"/>
                  <a:cs typeface="+mn-cs"/>
                </a:endParaRPr>
              </a:p>
            </p:txBody>
          </p:sp>
        </p:grpSp>
        <p:sp>
          <p:nvSpPr>
            <p:cNvPr id="76" name="Rectangle 75">
              <a:extLst>
                <a:ext uri="{FF2B5EF4-FFF2-40B4-BE49-F238E27FC236}">
                  <a16:creationId xmlns:a16="http://schemas.microsoft.com/office/drawing/2014/main" id="{BF29D5D1-21B0-4FBD-922A-F326642F01C0}"/>
                </a:ext>
              </a:extLst>
            </p:cNvPr>
            <p:cNvSpPr/>
            <p:nvPr/>
          </p:nvSpPr>
          <p:spPr>
            <a:xfrm>
              <a:off x="4562609" y="3054878"/>
              <a:ext cx="3066778" cy="94678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B050"/>
                  </a:solidFill>
                  <a:effectLst/>
                  <a:uLnTx/>
                  <a:uFillTx/>
                  <a:latin typeface="Calibri"/>
                  <a:ea typeface="+mn-ea"/>
                  <a:cs typeface="+mn-cs"/>
                </a:rPr>
                <a:t>Food Product safety Quality Concerns</a:t>
              </a:r>
            </a:p>
          </p:txBody>
        </p:sp>
        <p:grpSp>
          <p:nvGrpSpPr>
            <p:cNvPr id="77" name="Cone" descr="{&quot;Key&quot;:&quot;POWER_USER_SHAPE_ICON&quot;,&quot;Value&quot;:&quot;POWER_USER_SHAPE_ICON_STYLE_1&quot;}"/>
            <p:cNvGrpSpPr>
              <a:grpSpLocks noChangeAspect="1"/>
            </p:cNvGrpSpPr>
            <p:nvPr>
              <p:custDataLst>
                <p:tags r:id="rId2"/>
              </p:custDataLst>
            </p:nvPr>
          </p:nvGrpSpPr>
          <p:grpSpPr bwMode="auto">
            <a:xfrm>
              <a:off x="4236341" y="1775038"/>
              <a:ext cx="500058" cy="542925"/>
              <a:chOff x="2478" y="438"/>
              <a:chExt cx="2648" cy="2875"/>
            </a:xfrm>
            <a:solidFill>
              <a:schemeClr val="tx2"/>
            </a:solidFill>
          </p:grpSpPr>
          <p:sp>
            <p:nvSpPr>
              <p:cNvPr id="78" name="Freeform 323"/>
              <p:cNvSpPr>
                <a:spLocks/>
              </p:cNvSpPr>
              <p:nvPr/>
            </p:nvSpPr>
            <p:spPr bwMode="auto">
              <a:xfrm>
                <a:off x="2478" y="3051"/>
                <a:ext cx="2648" cy="262"/>
              </a:xfrm>
              <a:custGeom>
                <a:avLst/>
                <a:gdLst>
                  <a:gd name="T0" fmla="*/ 633 w 667"/>
                  <a:gd name="T1" fmla="*/ 0 h 66"/>
                  <a:gd name="T2" fmla="*/ 33 w 667"/>
                  <a:gd name="T3" fmla="*/ 0 h 66"/>
                  <a:gd name="T4" fmla="*/ 0 w 667"/>
                  <a:gd name="T5" fmla="*/ 33 h 66"/>
                  <a:gd name="T6" fmla="*/ 33 w 667"/>
                  <a:gd name="T7" fmla="*/ 66 h 66"/>
                  <a:gd name="T8" fmla="*/ 633 w 667"/>
                  <a:gd name="T9" fmla="*/ 66 h 66"/>
                  <a:gd name="T10" fmla="*/ 667 w 667"/>
                  <a:gd name="T11" fmla="*/ 33 h 66"/>
                  <a:gd name="T12" fmla="*/ 633 w 667"/>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667" h="66">
                    <a:moveTo>
                      <a:pt x="633" y="0"/>
                    </a:moveTo>
                    <a:lnTo>
                      <a:pt x="33" y="0"/>
                    </a:lnTo>
                    <a:cubicBezTo>
                      <a:pt x="15" y="0"/>
                      <a:pt x="0" y="15"/>
                      <a:pt x="0" y="33"/>
                    </a:cubicBezTo>
                    <a:cubicBezTo>
                      <a:pt x="0" y="51"/>
                      <a:pt x="15" y="66"/>
                      <a:pt x="33" y="66"/>
                    </a:cubicBezTo>
                    <a:lnTo>
                      <a:pt x="633" y="66"/>
                    </a:lnTo>
                    <a:cubicBezTo>
                      <a:pt x="652" y="66"/>
                      <a:pt x="667" y="51"/>
                      <a:pt x="667" y="33"/>
                    </a:cubicBezTo>
                    <a:cubicBezTo>
                      <a:pt x="667" y="15"/>
                      <a:pt x="652" y="0"/>
                      <a:pt x="633" y="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324"/>
              <p:cNvSpPr>
                <a:spLocks/>
              </p:cNvSpPr>
              <p:nvPr/>
            </p:nvSpPr>
            <p:spPr bwMode="auto">
              <a:xfrm>
                <a:off x="2855" y="2120"/>
                <a:ext cx="1890" cy="533"/>
              </a:xfrm>
              <a:custGeom>
                <a:avLst/>
                <a:gdLst>
                  <a:gd name="T0" fmla="*/ 1691 w 1890"/>
                  <a:gd name="T1" fmla="*/ 0 h 533"/>
                  <a:gd name="T2" fmla="*/ 199 w 1890"/>
                  <a:gd name="T3" fmla="*/ 0 h 533"/>
                  <a:gd name="T4" fmla="*/ 0 w 1890"/>
                  <a:gd name="T5" fmla="*/ 533 h 533"/>
                  <a:gd name="T6" fmla="*/ 1890 w 1890"/>
                  <a:gd name="T7" fmla="*/ 533 h 533"/>
                  <a:gd name="T8" fmla="*/ 1691 w 1890"/>
                  <a:gd name="T9" fmla="*/ 0 h 533"/>
                </a:gdLst>
                <a:ahLst/>
                <a:cxnLst>
                  <a:cxn ang="0">
                    <a:pos x="T0" y="T1"/>
                  </a:cxn>
                  <a:cxn ang="0">
                    <a:pos x="T2" y="T3"/>
                  </a:cxn>
                  <a:cxn ang="0">
                    <a:pos x="T4" y="T5"/>
                  </a:cxn>
                  <a:cxn ang="0">
                    <a:pos x="T6" y="T7"/>
                  </a:cxn>
                  <a:cxn ang="0">
                    <a:pos x="T8" y="T9"/>
                  </a:cxn>
                </a:cxnLst>
                <a:rect l="0" t="0" r="r" b="b"/>
                <a:pathLst>
                  <a:path w="1890" h="533">
                    <a:moveTo>
                      <a:pt x="1691" y="0"/>
                    </a:moveTo>
                    <a:lnTo>
                      <a:pt x="199" y="0"/>
                    </a:lnTo>
                    <a:lnTo>
                      <a:pt x="0" y="533"/>
                    </a:lnTo>
                    <a:lnTo>
                      <a:pt x="1890" y="533"/>
                    </a:lnTo>
                    <a:lnTo>
                      <a:pt x="1691"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325"/>
              <p:cNvSpPr>
                <a:spLocks/>
              </p:cNvSpPr>
              <p:nvPr/>
            </p:nvSpPr>
            <p:spPr bwMode="auto">
              <a:xfrm>
                <a:off x="3252" y="438"/>
                <a:ext cx="1096" cy="1153"/>
              </a:xfrm>
              <a:custGeom>
                <a:avLst/>
                <a:gdLst>
                  <a:gd name="T0" fmla="*/ 203 w 276"/>
                  <a:gd name="T1" fmla="*/ 95 h 290"/>
                  <a:gd name="T2" fmla="*/ 73 w 276"/>
                  <a:gd name="T3" fmla="*/ 95 h 290"/>
                  <a:gd name="T4" fmla="*/ 0 w 276"/>
                  <a:gd name="T5" fmla="*/ 290 h 290"/>
                  <a:gd name="T6" fmla="*/ 276 w 276"/>
                  <a:gd name="T7" fmla="*/ 290 h 290"/>
                  <a:gd name="T8" fmla="*/ 203 w 276"/>
                  <a:gd name="T9" fmla="*/ 95 h 290"/>
                </a:gdLst>
                <a:ahLst/>
                <a:cxnLst>
                  <a:cxn ang="0">
                    <a:pos x="T0" y="T1"/>
                  </a:cxn>
                  <a:cxn ang="0">
                    <a:pos x="T2" y="T3"/>
                  </a:cxn>
                  <a:cxn ang="0">
                    <a:pos x="T4" y="T5"/>
                  </a:cxn>
                  <a:cxn ang="0">
                    <a:pos x="T6" y="T7"/>
                  </a:cxn>
                  <a:cxn ang="0">
                    <a:pos x="T8" y="T9"/>
                  </a:cxn>
                </a:cxnLst>
                <a:rect l="0" t="0" r="r" b="b"/>
                <a:pathLst>
                  <a:path w="276" h="290">
                    <a:moveTo>
                      <a:pt x="203" y="95"/>
                    </a:moveTo>
                    <a:cubicBezTo>
                      <a:pt x="168" y="0"/>
                      <a:pt x="109" y="0"/>
                      <a:pt x="73" y="95"/>
                    </a:cubicBezTo>
                    <a:lnTo>
                      <a:pt x="0" y="290"/>
                    </a:lnTo>
                    <a:lnTo>
                      <a:pt x="276" y="290"/>
                    </a:lnTo>
                    <a:lnTo>
                      <a:pt x="203" y="9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1" name="Service" descr="{&quot;Key&quot;:&quot;POWER_USER_SHAPE_ICON&quot;,&quot;Value&quot;:&quot;POWER_USER_SHAPE_ICON_STYLE_1&quot;}"/>
            <p:cNvGrpSpPr>
              <a:grpSpLocks noChangeAspect="1"/>
            </p:cNvGrpSpPr>
            <p:nvPr>
              <p:custDataLst>
                <p:tags r:id="rId3"/>
              </p:custDataLst>
            </p:nvPr>
          </p:nvGrpSpPr>
          <p:grpSpPr>
            <a:xfrm>
              <a:off x="7436165" y="1821210"/>
              <a:ext cx="586823" cy="542925"/>
              <a:chOff x="-4159014" y="1147887"/>
              <a:chExt cx="3700334" cy="3423521"/>
            </a:xfrm>
            <a:solidFill>
              <a:schemeClr val="tx2"/>
            </a:solidFill>
          </p:grpSpPr>
          <p:grpSp>
            <p:nvGrpSpPr>
              <p:cNvPr id="82" name="Group 81">
                <a:extLst>
                  <a:ext uri="{FF2B5EF4-FFF2-40B4-BE49-F238E27FC236}">
                    <a16:creationId xmlns:a16="http://schemas.microsoft.com/office/drawing/2014/main" id="{611A40EC-E95C-4F45-A519-F264F3D0A7CC}"/>
                  </a:ext>
                </a:extLst>
              </p:cNvPr>
              <p:cNvGrpSpPr>
                <a:grpSpLocks noChangeAspect="1"/>
              </p:cNvGrpSpPr>
              <p:nvPr/>
            </p:nvGrpSpPr>
            <p:grpSpPr>
              <a:xfrm>
                <a:off x="-4159014" y="2624784"/>
                <a:ext cx="1541299" cy="1946624"/>
                <a:chOff x="4140749" y="3095294"/>
                <a:chExt cx="1541299" cy="1946624"/>
              </a:xfrm>
              <a:grpFill/>
            </p:grpSpPr>
            <p:sp>
              <p:nvSpPr>
                <p:cNvPr id="98" name="Freeform: Shape 214">
                  <a:extLst>
                    <a:ext uri="{FF2B5EF4-FFF2-40B4-BE49-F238E27FC236}">
                      <a16:creationId xmlns:a16="http://schemas.microsoft.com/office/drawing/2014/main" id="{E001A030-1F6F-43DB-A38B-D0BA04012692}"/>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val 215"/>
                <p:cNvSpPr>
                  <a:spLocks noChangeArrowheads="1"/>
                </p:cNvSpPr>
                <p:nvPr/>
              </p:nvSpPr>
              <p:spPr bwMode="auto">
                <a:xfrm>
                  <a:off x="4466076" y="3095294"/>
                  <a:ext cx="890648" cy="890648"/>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3" name="Creativity"/>
              <p:cNvGrpSpPr>
                <a:grpSpLocks noChangeAspect="1"/>
              </p:cNvGrpSpPr>
              <p:nvPr>
                <p:custDataLst>
                  <p:tags r:id="rId7"/>
                </p:custDataLst>
              </p:nvPr>
            </p:nvGrpSpPr>
            <p:grpSpPr>
              <a:xfrm>
                <a:off x="-2697174" y="2641802"/>
                <a:ext cx="2238494" cy="1886179"/>
                <a:chOff x="8248651" y="3332163"/>
                <a:chExt cx="827087" cy="696912"/>
              </a:xfrm>
              <a:grpFill/>
            </p:grpSpPr>
            <p:sp>
              <p:nvSpPr>
                <p:cNvPr id="91" name="Freeform 183"/>
                <p:cNvSpPr>
                  <a:spLocks/>
                </p:cNvSpPr>
                <p:nvPr/>
              </p:nvSpPr>
              <p:spPr bwMode="auto">
                <a:xfrm>
                  <a:off x="8504238" y="3644900"/>
                  <a:ext cx="571500" cy="384175"/>
                </a:xfrm>
                <a:custGeom>
                  <a:avLst/>
                  <a:gdLst>
                    <a:gd name="T0" fmla="*/ 47 w 751"/>
                    <a:gd name="T1" fmla="*/ 0 h 504"/>
                    <a:gd name="T2" fmla="*/ 268 w 751"/>
                    <a:gd name="T3" fmla="*/ 25 h 504"/>
                    <a:gd name="T4" fmla="*/ 365 w 751"/>
                    <a:gd name="T5" fmla="*/ 147 h 504"/>
                    <a:gd name="T6" fmla="*/ 529 w 751"/>
                    <a:gd name="T7" fmla="*/ 58 h 504"/>
                    <a:gd name="T8" fmla="*/ 749 w 751"/>
                    <a:gd name="T9" fmla="*/ 320 h 504"/>
                    <a:gd name="T10" fmla="*/ 751 w 751"/>
                    <a:gd name="T11" fmla="*/ 504 h 504"/>
                    <a:gd name="T12" fmla="*/ 568 w 751"/>
                    <a:gd name="T13" fmla="*/ 504 h 504"/>
                    <a:gd name="T14" fmla="*/ 555 w 751"/>
                    <a:gd name="T15" fmla="*/ 347 h 504"/>
                    <a:gd name="T16" fmla="*/ 520 w 751"/>
                    <a:gd name="T17" fmla="*/ 347 h 504"/>
                    <a:gd name="T18" fmla="*/ 510 w 751"/>
                    <a:gd name="T19" fmla="*/ 504 h 504"/>
                    <a:gd name="T20" fmla="*/ 166 w 751"/>
                    <a:gd name="T21" fmla="*/ 504 h 504"/>
                    <a:gd name="T22" fmla="*/ 166 w 751"/>
                    <a:gd name="T23" fmla="*/ 209 h 504"/>
                    <a:gd name="T24" fmla="*/ 0 w 751"/>
                    <a:gd name="T25" fmla="*/ 184 h 504"/>
                    <a:gd name="T26" fmla="*/ 47 w 751"/>
                    <a:gd name="T2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1" h="504">
                      <a:moveTo>
                        <a:pt x="47" y="0"/>
                      </a:moveTo>
                      <a:cubicBezTo>
                        <a:pt x="109" y="7"/>
                        <a:pt x="191" y="16"/>
                        <a:pt x="268" y="25"/>
                      </a:cubicBezTo>
                      <a:lnTo>
                        <a:pt x="365" y="147"/>
                      </a:lnTo>
                      <a:lnTo>
                        <a:pt x="529" y="58"/>
                      </a:lnTo>
                      <a:cubicBezTo>
                        <a:pt x="673" y="79"/>
                        <a:pt x="745" y="159"/>
                        <a:pt x="749" y="320"/>
                      </a:cubicBezTo>
                      <a:lnTo>
                        <a:pt x="751" y="504"/>
                      </a:lnTo>
                      <a:lnTo>
                        <a:pt x="568" y="504"/>
                      </a:lnTo>
                      <a:lnTo>
                        <a:pt x="555" y="347"/>
                      </a:lnTo>
                      <a:lnTo>
                        <a:pt x="520" y="347"/>
                      </a:lnTo>
                      <a:lnTo>
                        <a:pt x="510" y="504"/>
                      </a:lnTo>
                      <a:lnTo>
                        <a:pt x="166" y="504"/>
                      </a:lnTo>
                      <a:lnTo>
                        <a:pt x="166" y="209"/>
                      </a:lnTo>
                      <a:lnTo>
                        <a:pt x="0" y="184"/>
                      </a:lnTo>
                      <a:cubicBezTo>
                        <a:pt x="42" y="165"/>
                        <a:pt x="28" y="73"/>
                        <a:pt x="47" y="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val 184"/>
                <p:cNvSpPr>
                  <a:spLocks noChangeArrowheads="1"/>
                </p:cNvSpPr>
                <p:nvPr/>
              </p:nvSpPr>
              <p:spPr bwMode="auto">
                <a:xfrm>
                  <a:off x="8683626" y="3332163"/>
                  <a:ext cx="320675" cy="314325"/>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190"/>
                <p:cNvSpPr>
                  <a:spLocks/>
                </p:cNvSpPr>
                <p:nvPr/>
              </p:nvSpPr>
              <p:spPr bwMode="auto">
                <a:xfrm>
                  <a:off x="8583613"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2" y="0"/>
                        <a:pt x="0"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191"/>
                <p:cNvSpPr>
                  <a:spLocks/>
                </p:cNvSpPr>
                <p:nvPr/>
              </p:nvSpPr>
              <p:spPr bwMode="auto">
                <a:xfrm>
                  <a:off x="85915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0" y="0"/>
                        <a:pt x="3"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193"/>
                <p:cNvSpPr>
                  <a:spLocks/>
                </p:cNvSpPr>
                <p:nvPr/>
              </p:nvSpPr>
              <p:spPr bwMode="auto">
                <a:xfrm>
                  <a:off x="8293101" y="3593000"/>
                  <a:ext cx="144463" cy="176213"/>
                </a:xfrm>
                <a:custGeom>
                  <a:avLst/>
                  <a:gdLst>
                    <a:gd name="T0" fmla="*/ 85 w 188"/>
                    <a:gd name="T1" fmla="*/ 230 h 233"/>
                    <a:gd name="T2" fmla="*/ 187 w 188"/>
                    <a:gd name="T3" fmla="*/ 124 h 233"/>
                    <a:gd name="T4" fmla="*/ 105 w 188"/>
                    <a:gd name="T5" fmla="*/ 3 h 233"/>
                    <a:gd name="T6" fmla="*/ 59 w 188"/>
                    <a:gd name="T7" fmla="*/ 3 h 233"/>
                    <a:gd name="T8" fmla="*/ 1 w 188"/>
                    <a:gd name="T9" fmla="*/ 112 h 233"/>
                    <a:gd name="T10" fmla="*/ 16 w 188"/>
                    <a:gd name="T11" fmla="*/ 212 h 233"/>
                    <a:gd name="T12" fmla="*/ 85 w 188"/>
                    <a:gd name="T13" fmla="*/ 230 h 233"/>
                  </a:gdLst>
                  <a:ahLst/>
                  <a:cxnLst>
                    <a:cxn ang="0">
                      <a:pos x="T0" y="T1"/>
                    </a:cxn>
                    <a:cxn ang="0">
                      <a:pos x="T2" y="T3"/>
                    </a:cxn>
                    <a:cxn ang="0">
                      <a:pos x="T4" y="T5"/>
                    </a:cxn>
                    <a:cxn ang="0">
                      <a:pos x="T6" y="T7"/>
                    </a:cxn>
                    <a:cxn ang="0">
                      <a:pos x="T8" y="T9"/>
                    </a:cxn>
                    <a:cxn ang="0">
                      <a:pos x="T10" y="T11"/>
                    </a:cxn>
                    <a:cxn ang="0">
                      <a:pos x="T12" y="T13"/>
                    </a:cxn>
                  </a:cxnLst>
                  <a:rect l="0" t="0" r="r" b="b"/>
                  <a:pathLst>
                    <a:path w="188" h="233">
                      <a:moveTo>
                        <a:pt x="85" y="230"/>
                      </a:moveTo>
                      <a:cubicBezTo>
                        <a:pt x="141" y="224"/>
                        <a:pt x="186" y="185"/>
                        <a:pt x="187" y="124"/>
                      </a:cubicBezTo>
                      <a:cubicBezTo>
                        <a:pt x="188" y="66"/>
                        <a:pt x="149" y="16"/>
                        <a:pt x="105" y="3"/>
                      </a:cubicBezTo>
                      <a:cubicBezTo>
                        <a:pt x="91" y="0"/>
                        <a:pt x="68" y="2"/>
                        <a:pt x="59" y="3"/>
                      </a:cubicBezTo>
                      <a:cubicBezTo>
                        <a:pt x="1" y="10"/>
                        <a:pt x="2" y="50"/>
                        <a:pt x="1" y="112"/>
                      </a:cubicBezTo>
                      <a:cubicBezTo>
                        <a:pt x="0" y="152"/>
                        <a:pt x="0" y="190"/>
                        <a:pt x="16" y="212"/>
                      </a:cubicBezTo>
                      <a:cubicBezTo>
                        <a:pt x="30" y="231"/>
                        <a:pt x="47" y="233"/>
                        <a:pt x="85" y="23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194"/>
                <p:cNvSpPr>
                  <a:spLocks/>
                </p:cNvSpPr>
                <p:nvPr/>
              </p:nvSpPr>
              <p:spPr bwMode="auto">
                <a:xfrm>
                  <a:off x="8256588"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0" y="0"/>
                        <a:pt x="2"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195"/>
                <p:cNvSpPr>
                  <a:spLocks/>
                </p:cNvSpPr>
                <p:nvPr/>
              </p:nvSpPr>
              <p:spPr bwMode="auto">
                <a:xfrm>
                  <a:off x="82486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3" y="0"/>
                        <a:pt x="0"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4" name="Umbrella3"/>
              <p:cNvGrpSpPr>
                <a:grpSpLocks noChangeAspect="1"/>
              </p:cNvGrpSpPr>
              <p:nvPr>
                <p:custDataLst>
                  <p:tags r:id="rId8"/>
                </p:custDataLst>
              </p:nvPr>
            </p:nvGrpSpPr>
            <p:grpSpPr bwMode="auto">
              <a:xfrm>
                <a:off x="-3699202" y="1147887"/>
                <a:ext cx="2467145" cy="1402139"/>
                <a:chOff x="2283" y="529"/>
                <a:chExt cx="3037" cy="1726"/>
              </a:xfrm>
              <a:grpFill/>
            </p:grpSpPr>
            <p:sp>
              <p:nvSpPr>
                <p:cNvPr id="87" name="Freeform 231"/>
                <p:cNvSpPr>
                  <a:spLocks/>
                </p:cNvSpPr>
                <p:nvPr/>
              </p:nvSpPr>
              <p:spPr bwMode="auto">
                <a:xfrm>
                  <a:off x="2283" y="752"/>
                  <a:ext cx="1255" cy="1400"/>
                </a:xfrm>
                <a:custGeom>
                  <a:avLst/>
                  <a:gdLst>
                    <a:gd name="T0" fmla="*/ 159 w 316"/>
                    <a:gd name="T1" fmla="*/ 283 h 352"/>
                    <a:gd name="T2" fmla="*/ 162 w 316"/>
                    <a:gd name="T3" fmla="*/ 269 h 352"/>
                    <a:gd name="T4" fmla="*/ 162 w 316"/>
                    <a:gd name="T5" fmla="*/ 268 h 352"/>
                    <a:gd name="T6" fmla="*/ 169 w 316"/>
                    <a:gd name="T7" fmla="*/ 240 h 352"/>
                    <a:gd name="T8" fmla="*/ 170 w 316"/>
                    <a:gd name="T9" fmla="*/ 238 h 352"/>
                    <a:gd name="T10" fmla="*/ 173 w 316"/>
                    <a:gd name="T11" fmla="*/ 226 h 352"/>
                    <a:gd name="T12" fmla="*/ 175 w 316"/>
                    <a:gd name="T13" fmla="*/ 219 h 352"/>
                    <a:gd name="T14" fmla="*/ 177 w 316"/>
                    <a:gd name="T15" fmla="*/ 212 h 352"/>
                    <a:gd name="T16" fmla="*/ 178 w 316"/>
                    <a:gd name="T17" fmla="*/ 209 h 352"/>
                    <a:gd name="T18" fmla="*/ 188 w 316"/>
                    <a:gd name="T19" fmla="*/ 183 h 352"/>
                    <a:gd name="T20" fmla="*/ 190 w 316"/>
                    <a:gd name="T21" fmla="*/ 176 h 352"/>
                    <a:gd name="T22" fmla="*/ 201 w 316"/>
                    <a:gd name="T23" fmla="*/ 150 h 352"/>
                    <a:gd name="T24" fmla="*/ 204 w 316"/>
                    <a:gd name="T25" fmla="*/ 145 h 352"/>
                    <a:gd name="T26" fmla="*/ 218 w 316"/>
                    <a:gd name="T27" fmla="*/ 118 h 352"/>
                    <a:gd name="T28" fmla="*/ 218 w 316"/>
                    <a:gd name="T29" fmla="*/ 118 h 352"/>
                    <a:gd name="T30" fmla="*/ 316 w 316"/>
                    <a:gd name="T31" fmla="*/ 0 h 352"/>
                    <a:gd name="T32" fmla="*/ 0 w 316"/>
                    <a:gd name="T33" fmla="*/ 349 h 352"/>
                    <a:gd name="T34" fmla="*/ 67 w 316"/>
                    <a:gd name="T35" fmla="*/ 336 h 352"/>
                    <a:gd name="T36" fmla="*/ 149 w 316"/>
                    <a:gd name="T37" fmla="*/ 352 h 352"/>
                    <a:gd name="T38" fmla="*/ 159 w 316"/>
                    <a:gd name="T39" fmla="*/ 284 h 352"/>
                    <a:gd name="T40" fmla="*/ 159 w 316"/>
                    <a:gd name="T41" fmla="*/ 283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159" y="283"/>
                      </a:moveTo>
                      <a:cubicBezTo>
                        <a:pt x="160" y="278"/>
                        <a:pt x="161" y="274"/>
                        <a:pt x="162" y="269"/>
                      </a:cubicBezTo>
                      <a:cubicBezTo>
                        <a:pt x="162" y="269"/>
                        <a:pt x="162" y="268"/>
                        <a:pt x="162" y="268"/>
                      </a:cubicBezTo>
                      <a:cubicBezTo>
                        <a:pt x="164" y="259"/>
                        <a:pt x="166" y="250"/>
                        <a:pt x="169" y="240"/>
                      </a:cubicBezTo>
                      <a:cubicBezTo>
                        <a:pt x="169" y="240"/>
                        <a:pt x="169" y="239"/>
                        <a:pt x="170" y="238"/>
                      </a:cubicBezTo>
                      <a:cubicBezTo>
                        <a:pt x="171" y="234"/>
                        <a:pt x="172" y="230"/>
                        <a:pt x="173" y="226"/>
                      </a:cubicBezTo>
                      <a:cubicBezTo>
                        <a:pt x="174" y="224"/>
                        <a:pt x="174" y="222"/>
                        <a:pt x="175" y="219"/>
                      </a:cubicBezTo>
                      <a:cubicBezTo>
                        <a:pt x="176" y="217"/>
                        <a:pt x="176" y="215"/>
                        <a:pt x="177" y="212"/>
                      </a:cubicBezTo>
                      <a:cubicBezTo>
                        <a:pt x="178" y="211"/>
                        <a:pt x="178" y="210"/>
                        <a:pt x="178" y="209"/>
                      </a:cubicBezTo>
                      <a:cubicBezTo>
                        <a:pt x="181" y="200"/>
                        <a:pt x="184" y="192"/>
                        <a:pt x="188" y="183"/>
                      </a:cubicBezTo>
                      <a:cubicBezTo>
                        <a:pt x="189" y="181"/>
                        <a:pt x="189" y="178"/>
                        <a:pt x="190" y="176"/>
                      </a:cubicBezTo>
                      <a:cubicBezTo>
                        <a:pt x="194" y="167"/>
                        <a:pt x="197" y="159"/>
                        <a:pt x="201" y="150"/>
                      </a:cubicBezTo>
                      <a:cubicBezTo>
                        <a:pt x="202" y="148"/>
                        <a:pt x="203" y="147"/>
                        <a:pt x="204" y="145"/>
                      </a:cubicBezTo>
                      <a:cubicBezTo>
                        <a:pt x="208" y="136"/>
                        <a:pt x="213" y="127"/>
                        <a:pt x="218" y="118"/>
                      </a:cubicBezTo>
                      <a:cubicBezTo>
                        <a:pt x="218" y="118"/>
                        <a:pt x="218" y="118"/>
                        <a:pt x="218" y="118"/>
                      </a:cubicBezTo>
                      <a:cubicBezTo>
                        <a:pt x="241" y="75"/>
                        <a:pt x="273" y="34"/>
                        <a:pt x="316" y="0"/>
                      </a:cubicBezTo>
                      <a:cubicBezTo>
                        <a:pt x="145" y="30"/>
                        <a:pt x="13" y="173"/>
                        <a:pt x="0" y="349"/>
                      </a:cubicBezTo>
                      <a:cubicBezTo>
                        <a:pt x="21" y="340"/>
                        <a:pt x="43" y="336"/>
                        <a:pt x="67" y="336"/>
                      </a:cubicBezTo>
                      <a:cubicBezTo>
                        <a:pt x="100" y="336"/>
                        <a:pt x="130" y="345"/>
                        <a:pt x="149" y="352"/>
                      </a:cubicBezTo>
                      <a:cubicBezTo>
                        <a:pt x="150" y="336"/>
                        <a:pt x="153" y="312"/>
                        <a:pt x="159" y="284"/>
                      </a:cubicBezTo>
                      <a:cubicBezTo>
                        <a:pt x="159" y="284"/>
                        <a:pt x="159" y="283"/>
                        <a:pt x="159" y="283"/>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33"/>
                <p:cNvSpPr>
                  <a:spLocks/>
                </p:cNvSpPr>
                <p:nvPr/>
              </p:nvSpPr>
              <p:spPr bwMode="auto">
                <a:xfrm>
                  <a:off x="4066" y="752"/>
                  <a:ext cx="1254" cy="1400"/>
                </a:xfrm>
                <a:custGeom>
                  <a:avLst/>
                  <a:gdLst>
                    <a:gd name="T0" fmla="*/ 0 w 316"/>
                    <a:gd name="T1" fmla="*/ 0 h 352"/>
                    <a:gd name="T2" fmla="*/ 98 w 316"/>
                    <a:gd name="T3" fmla="*/ 118 h 352"/>
                    <a:gd name="T4" fmla="*/ 98 w 316"/>
                    <a:gd name="T5" fmla="*/ 118 h 352"/>
                    <a:gd name="T6" fmla="*/ 112 w 316"/>
                    <a:gd name="T7" fmla="*/ 145 h 352"/>
                    <a:gd name="T8" fmla="*/ 114 w 316"/>
                    <a:gd name="T9" fmla="*/ 150 h 352"/>
                    <a:gd name="T10" fmla="*/ 125 w 316"/>
                    <a:gd name="T11" fmla="*/ 176 h 352"/>
                    <a:gd name="T12" fmla="*/ 128 w 316"/>
                    <a:gd name="T13" fmla="*/ 183 h 352"/>
                    <a:gd name="T14" fmla="*/ 137 w 316"/>
                    <a:gd name="T15" fmla="*/ 209 h 352"/>
                    <a:gd name="T16" fmla="*/ 138 w 316"/>
                    <a:gd name="T17" fmla="*/ 212 h 352"/>
                    <a:gd name="T18" fmla="*/ 141 w 316"/>
                    <a:gd name="T19" fmla="*/ 219 h 352"/>
                    <a:gd name="T20" fmla="*/ 143 w 316"/>
                    <a:gd name="T21" fmla="*/ 226 h 352"/>
                    <a:gd name="T22" fmla="*/ 146 w 316"/>
                    <a:gd name="T23" fmla="*/ 238 h 352"/>
                    <a:gd name="T24" fmla="*/ 147 w 316"/>
                    <a:gd name="T25" fmla="*/ 241 h 352"/>
                    <a:gd name="T26" fmla="*/ 153 w 316"/>
                    <a:gd name="T27" fmla="*/ 268 h 352"/>
                    <a:gd name="T28" fmla="*/ 154 w 316"/>
                    <a:gd name="T29" fmla="*/ 269 h 352"/>
                    <a:gd name="T30" fmla="*/ 157 w 316"/>
                    <a:gd name="T31" fmla="*/ 283 h 352"/>
                    <a:gd name="T32" fmla="*/ 157 w 316"/>
                    <a:gd name="T33" fmla="*/ 284 h 352"/>
                    <a:gd name="T34" fmla="*/ 167 w 316"/>
                    <a:gd name="T35" fmla="*/ 352 h 352"/>
                    <a:gd name="T36" fmla="*/ 248 w 316"/>
                    <a:gd name="T37" fmla="*/ 336 h 352"/>
                    <a:gd name="T38" fmla="*/ 316 w 316"/>
                    <a:gd name="T39" fmla="*/ 349 h 352"/>
                    <a:gd name="T40" fmla="*/ 0 w 316"/>
                    <a:gd name="T41"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0" y="0"/>
                      </a:moveTo>
                      <a:cubicBezTo>
                        <a:pt x="42" y="34"/>
                        <a:pt x="74" y="75"/>
                        <a:pt x="98" y="118"/>
                      </a:cubicBezTo>
                      <a:cubicBezTo>
                        <a:pt x="98" y="118"/>
                        <a:pt x="98" y="118"/>
                        <a:pt x="98" y="118"/>
                      </a:cubicBezTo>
                      <a:cubicBezTo>
                        <a:pt x="103" y="127"/>
                        <a:pt x="108" y="136"/>
                        <a:pt x="112" y="145"/>
                      </a:cubicBezTo>
                      <a:cubicBezTo>
                        <a:pt x="113" y="147"/>
                        <a:pt x="113" y="148"/>
                        <a:pt x="114" y="150"/>
                      </a:cubicBezTo>
                      <a:cubicBezTo>
                        <a:pt x="118" y="159"/>
                        <a:pt x="122" y="167"/>
                        <a:pt x="125" y="176"/>
                      </a:cubicBezTo>
                      <a:cubicBezTo>
                        <a:pt x="126" y="178"/>
                        <a:pt x="127" y="181"/>
                        <a:pt x="128" y="183"/>
                      </a:cubicBezTo>
                      <a:cubicBezTo>
                        <a:pt x="131" y="192"/>
                        <a:pt x="134" y="200"/>
                        <a:pt x="137" y="209"/>
                      </a:cubicBezTo>
                      <a:cubicBezTo>
                        <a:pt x="138" y="210"/>
                        <a:pt x="138" y="211"/>
                        <a:pt x="138" y="212"/>
                      </a:cubicBezTo>
                      <a:cubicBezTo>
                        <a:pt x="139" y="215"/>
                        <a:pt x="140" y="217"/>
                        <a:pt x="141" y="219"/>
                      </a:cubicBezTo>
                      <a:cubicBezTo>
                        <a:pt x="141" y="221"/>
                        <a:pt x="142" y="224"/>
                        <a:pt x="143" y="226"/>
                      </a:cubicBezTo>
                      <a:cubicBezTo>
                        <a:pt x="144" y="230"/>
                        <a:pt x="145" y="234"/>
                        <a:pt x="146" y="238"/>
                      </a:cubicBezTo>
                      <a:cubicBezTo>
                        <a:pt x="146" y="239"/>
                        <a:pt x="147" y="240"/>
                        <a:pt x="147" y="241"/>
                      </a:cubicBezTo>
                      <a:cubicBezTo>
                        <a:pt x="149" y="250"/>
                        <a:pt x="151" y="259"/>
                        <a:pt x="153" y="268"/>
                      </a:cubicBezTo>
                      <a:cubicBezTo>
                        <a:pt x="153" y="268"/>
                        <a:pt x="154" y="269"/>
                        <a:pt x="154" y="269"/>
                      </a:cubicBezTo>
                      <a:cubicBezTo>
                        <a:pt x="155" y="274"/>
                        <a:pt x="156" y="278"/>
                        <a:pt x="157" y="283"/>
                      </a:cubicBezTo>
                      <a:cubicBezTo>
                        <a:pt x="157" y="283"/>
                        <a:pt x="157" y="284"/>
                        <a:pt x="157" y="284"/>
                      </a:cubicBezTo>
                      <a:cubicBezTo>
                        <a:pt x="162" y="312"/>
                        <a:pt x="165" y="336"/>
                        <a:pt x="167" y="352"/>
                      </a:cubicBezTo>
                      <a:cubicBezTo>
                        <a:pt x="186" y="345"/>
                        <a:pt x="215" y="336"/>
                        <a:pt x="248" y="336"/>
                      </a:cubicBezTo>
                      <a:cubicBezTo>
                        <a:pt x="272" y="336"/>
                        <a:pt x="295" y="340"/>
                        <a:pt x="316" y="349"/>
                      </a:cubicBezTo>
                      <a:cubicBezTo>
                        <a:pt x="303" y="173"/>
                        <a:pt x="170" y="30"/>
                        <a:pt x="0" y="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34"/>
                <p:cNvSpPr>
                  <a:spLocks/>
                </p:cNvSpPr>
                <p:nvPr/>
              </p:nvSpPr>
              <p:spPr bwMode="auto">
                <a:xfrm>
                  <a:off x="4665" y="2255"/>
                  <a:ext cx="4"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35"/>
                <p:cNvSpPr>
                  <a:spLocks/>
                </p:cNvSpPr>
                <p:nvPr/>
              </p:nvSpPr>
              <p:spPr bwMode="auto">
                <a:xfrm>
                  <a:off x="3014" y="529"/>
                  <a:ext cx="1576" cy="1579"/>
                </a:xfrm>
                <a:custGeom>
                  <a:avLst/>
                  <a:gdLst>
                    <a:gd name="T0" fmla="*/ 226 w 397"/>
                    <a:gd name="T1" fmla="*/ 69 h 397"/>
                    <a:gd name="T2" fmla="*/ 232 w 397"/>
                    <a:gd name="T3" fmla="*/ 50 h 397"/>
                    <a:gd name="T4" fmla="*/ 232 w 397"/>
                    <a:gd name="T5" fmla="*/ 34 h 397"/>
                    <a:gd name="T6" fmla="*/ 198 w 397"/>
                    <a:gd name="T7" fmla="*/ 0 h 397"/>
                    <a:gd name="T8" fmla="*/ 165 w 397"/>
                    <a:gd name="T9" fmla="*/ 34 h 397"/>
                    <a:gd name="T10" fmla="*/ 165 w 397"/>
                    <a:gd name="T11" fmla="*/ 50 h 397"/>
                    <a:gd name="T12" fmla="*/ 171 w 397"/>
                    <a:gd name="T13" fmla="*/ 69 h 397"/>
                    <a:gd name="T14" fmla="*/ 0 w 397"/>
                    <a:gd name="T15" fmla="*/ 397 h 397"/>
                    <a:gd name="T16" fmla="*/ 198 w 397"/>
                    <a:gd name="T17" fmla="*/ 362 h 397"/>
                    <a:gd name="T18" fmla="*/ 397 w 397"/>
                    <a:gd name="T19" fmla="*/ 397 h 397"/>
                    <a:gd name="T20" fmla="*/ 226 w 397"/>
                    <a:gd name="T21" fmla="*/ 6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97">
                      <a:moveTo>
                        <a:pt x="226" y="69"/>
                      </a:moveTo>
                      <a:cubicBezTo>
                        <a:pt x="230" y="64"/>
                        <a:pt x="232" y="57"/>
                        <a:pt x="232" y="50"/>
                      </a:cubicBezTo>
                      <a:lnTo>
                        <a:pt x="232" y="34"/>
                      </a:lnTo>
                      <a:cubicBezTo>
                        <a:pt x="232" y="15"/>
                        <a:pt x="217" y="0"/>
                        <a:pt x="198" y="0"/>
                      </a:cubicBezTo>
                      <a:cubicBezTo>
                        <a:pt x="180" y="0"/>
                        <a:pt x="165" y="15"/>
                        <a:pt x="165" y="34"/>
                      </a:cubicBezTo>
                      <a:lnTo>
                        <a:pt x="165" y="50"/>
                      </a:lnTo>
                      <a:cubicBezTo>
                        <a:pt x="165" y="57"/>
                        <a:pt x="167" y="64"/>
                        <a:pt x="171" y="69"/>
                      </a:cubicBezTo>
                      <a:cubicBezTo>
                        <a:pt x="41" y="156"/>
                        <a:pt x="8" y="323"/>
                        <a:pt x="0" y="397"/>
                      </a:cubicBezTo>
                      <a:cubicBezTo>
                        <a:pt x="47" y="375"/>
                        <a:pt x="132" y="362"/>
                        <a:pt x="198" y="362"/>
                      </a:cubicBezTo>
                      <a:cubicBezTo>
                        <a:pt x="265" y="362"/>
                        <a:pt x="350" y="375"/>
                        <a:pt x="397" y="397"/>
                      </a:cubicBezTo>
                      <a:cubicBezTo>
                        <a:pt x="389" y="323"/>
                        <a:pt x="356" y="156"/>
                        <a:pt x="226" y="69"/>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5" name="Rectangle 84"/>
              <p:cNvSpPr/>
              <p:nvPr/>
            </p:nvSpPr>
            <p:spPr>
              <a:xfrm>
                <a:off x="-1828157" y="2207631"/>
                <a:ext cx="146878" cy="1351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Trapezoid 85"/>
              <p:cNvSpPr/>
              <p:nvPr/>
            </p:nvSpPr>
            <p:spPr>
              <a:xfrm rot="16581379">
                <a:off x="-2304525" y="3463893"/>
                <a:ext cx="399385" cy="398775"/>
              </a:xfrm>
              <a:prstGeom prst="trapezoid">
                <a:avLst>
                  <a:gd name="adj" fmla="val 83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0" name="Road_block" descr="{&quot;Key&quot;:&quot;POWER_USER_SHAPE_ICON&quot;,&quot;Value&quot;:&quot;POWER_USER_SHAPE_ICON_STYLE_1&quot;}"/>
            <p:cNvSpPr>
              <a:spLocks noChangeAspect="1" noEditPoints="1"/>
            </p:cNvSpPr>
            <p:nvPr>
              <p:custDataLst>
                <p:tags r:id="rId4"/>
              </p:custDataLst>
            </p:nvPr>
          </p:nvSpPr>
          <p:spPr bwMode="auto">
            <a:xfrm>
              <a:off x="5631971" y="4738349"/>
              <a:ext cx="928057" cy="542926"/>
            </a:xfrm>
            <a:custGeom>
              <a:avLst/>
              <a:gdLst>
                <a:gd name="T0" fmla="*/ 767 w 800"/>
                <a:gd name="T1" fmla="*/ 267 h 467"/>
                <a:gd name="T2" fmla="*/ 734 w 800"/>
                <a:gd name="T3" fmla="*/ 300 h 467"/>
                <a:gd name="T4" fmla="*/ 650 w 800"/>
                <a:gd name="T5" fmla="*/ 300 h 467"/>
                <a:gd name="T6" fmla="*/ 767 w 800"/>
                <a:gd name="T7" fmla="*/ 67 h 467"/>
                <a:gd name="T8" fmla="*/ 767 w 800"/>
                <a:gd name="T9" fmla="*/ 267 h 467"/>
                <a:gd name="T10" fmla="*/ 450 w 800"/>
                <a:gd name="T11" fmla="*/ 300 h 467"/>
                <a:gd name="T12" fmla="*/ 217 w 800"/>
                <a:gd name="T13" fmla="*/ 300 h 467"/>
                <a:gd name="T14" fmla="*/ 350 w 800"/>
                <a:gd name="T15" fmla="*/ 34 h 467"/>
                <a:gd name="T16" fmla="*/ 584 w 800"/>
                <a:gd name="T17" fmla="*/ 34 h 467"/>
                <a:gd name="T18" fmla="*/ 450 w 800"/>
                <a:gd name="T19" fmla="*/ 300 h 467"/>
                <a:gd name="T20" fmla="*/ 34 w 800"/>
                <a:gd name="T21" fmla="*/ 267 h 467"/>
                <a:gd name="T22" fmla="*/ 34 w 800"/>
                <a:gd name="T23" fmla="*/ 67 h 467"/>
                <a:gd name="T24" fmla="*/ 67 w 800"/>
                <a:gd name="T25" fmla="*/ 34 h 467"/>
                <a:gd name="T26" fmla="*/ 150 w 800"/>
                <a:gd name="T27" fmla="*/ 34 h 467"/>
                <a:gd name="T28" fmla="*/ 34 w 800"/>
                <a:gd name="T29" fmla="*/ 267 h 467"/>
                <a:gd name="T30" fmla="*/ 600 w 800"/>
                <a:gd name="T31" fmla="*/ 0 h 467"/>
                <a:gd name="T32" fmla="*/ 67 w 800"/>
                <a:gd name="T33" fmla="*/ 0 h 467"/>
                <a:gd name="T34" fmla="*/ 0 w 800"/>
                <a:gd name="T35" fmla="*/ 67 h 467"/>
                <a:gd name="T36" fmla="*/ 0 w 800"/>
                <a:gd name="T37" fmla="*/ 267 h 467"/>
                <a:gd name="T38" fmla="*/ 14 w 800"/>
                <a:gd name="T39" fmla="*/ 307 h 467"/>
                <a:gd name="T40" fmla="*/ 67 w 800"/>
                <a:gd name="T41" fmla="*/ 334 h 467"/>
                <a:gd name="T42" fmla="*/ 134 w 800"/>
                <a:gd name="T43" fmla="*/ 334 h 467"/>
                <a:gd name="T44" fmla="*/ 134 w 800"/>
                <a:gd name="T45" fmla="*/ 434 h 467"/>
                <a:gd name="T46" fmla="*/ 167 w 800"/>
                <a:gd name="T47" fmla="*/ 467 h 467"/>
                <a:gd name="T48" fmla="*/ 200 w 800"/>
                <a:gd name="T49" fmla="*/ 434 h 467"/>
                <a:gd name="T50" fmla="*/ 200 w 800"/>
                <a:gd name="T51" fmla="*/ 334 h 467"/>
                <a:gd name="T52" fmla="*/ 434 w 800"/>
                <a:gd name="T53" fmla="*/ 334 h 467"/>
                <a:gd name="T54" fmla="*/ 600 w 800"/>
                <a:gd name="T55" fmla="*/ 334 h 467"/>
                <a:gd name="T56" fmla="*/ 600 w 800"/>
                <a:gd name="T57" fmla="*/ 434 h 467"/>
                <a:gd name="T58" fmla="*/ 634 w 800"/>
                <a:gd name="T59" fmla="*/ 467 h 467"/>
                <a:gd name="T60" fmla="*/ 667 w 800"/>
                <a:gd name="T61" fmla="*/ 434 h 467"/>
                <a:gd name="T62" fmla="*/ 667 w 800"/>
                <a:gd name="T63" fmla="*/ 334 h 467"/>
                <a:gd name="T64" fmla="*/ 734 w 800"/>
                <a:gd name="T65" fmla="*/ 334 h 467"/>
                <a:gd name="T66" fmla="*/ 800 w 800"/>
                <a:gd name="T67" fmla="*/ 267 h 467"/>
                <a:gd name="T68" fmla="*/ 800 w 800"/>
                <a:gd name="T69" fmla="*/ 67 h 467"/>
                <a:gd name="T70" fmla="*/ 787 w 800"/>
                <a:gd name="T71" fmla="*/ 27 h 467"/>
                <a:gd name="T72" fmla="*/ 734 w 800"/>
                <a:gd name="T73" fmla="*/ 0 h 467"/>
                <a:gd name="T74" fmla="*/ 600 w 800"/>
                <a:gd name="T75"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467">
                  <a:moveTo>
                    <a:pt x="767" y="267"/>
                  </a:moveTo>
                  <a:cubicBezTo>
                    <a:pt x="767" y="285"/>
                    <a:pt x="752" y="300"/>
                    <a:pt x="734" y="300"/>
                  </a:cubicBezTo>
                  <a:lnTo>
                    <a:pt x="650" y="300"/>
                  </a:lnTo>
                  <a:lnTo>
                    <a:pt x="767" y="67"/>
                  </a:lnTo>
                  <a:lnTo>
                    <a:pt x="767" y="267"/>
                  </a:lnTo>
                  <a:close/>
                  <a:moveTo>
                    <a:pt x="450" y="300"/>
                  </a:moveTo>
                  <a:lnTo>
                    <a:pt x="217" y="300"/>
                  </a:lnTo>
                  <a:lnTo>
                    <a:pt x="350" y="34"/>
                  </a:lnTo>
                  <a:lnTo>
                    <a:pt x="584" y="34"/>
                  </a:lnTo>
                  <a:lnTo>
                    <a:pt x="450" y="300"/>
                  </a:lnTo>
                  <a:close/>
                  <a:moveTo>
                    <a:pt x="34" y="267"/>
                  </a:moveTo>
                  <a:lnTo>
                    <a:pt x="34" y="67"/>
                  </a:lnTo>
                  <a:cubicBezTo>
                    <a:pt x="34" y="49"/>
                    <a:pt x="49" y="34"/>
                    <a:pt x="67" y="34"/>
                  </a:cubicBezTo>
                  <a:lnTo>
                    <a:pt x="150" y="34"/>
                  </a:lnTo>
                  <a:lnTo>
                    <a:pt x="34" y="267"/>
                  </a:lnTo>
                  <a:close/>
                  <a:moveTo>
                    <a:pt x="600" y="0"/>
                  </a:moveTo>
                  <a:lnTo>
                    <a:pt x="67" y="0"/>
                  </a:lnTo>
                  <a:cubicBezTo>
                    <a:pt x="30" y="0"/>
                    <a:pt x="0" y="30"/>
                    <a:pt x="0" y="67"/>
                  </a:cubicBezTo>
                  <a:lnTo>
                    <a:pt x="0" y="267"/>
                  </a:lnTo>
                  <a:cubicBezTo>
                    <a:pt x="0" y="282"/>
                    <a:pt x="5" y="296"/>
                    <a:pt x="14" y="307"/>
                  </a:cubicBezTo>
                  <a:cubicBezTo>
                    <a:pt x="26" y="323"/>
                    <a:pt x="45" y="334"/>
                    <a:pt x="67" y="334"/>
                  </a:cubicBezTo>
                  <a:lnTo>
                    <a:pt x="134" y="334"/>
                  </a:lnTo>
                  <a:lnTo>
                    <a:pt x="134" y="434"/>
                  </a:lnTo>
                  <a:cubicBezTo>
                    <a:pt x="134" y="452"/>
                    <a:pt x="149" y="467"/>
                    <a:pt x="167" y="467"/>
                  </a:cubicBezTo>
                  <a:cubicBezTo>
                    <a:pt x="185" y="467"/>
                    <a:pt x="200" y="452"/>
                    <a:pt x="200" y="434"/>
                  </a:cubicBezTo>
                  <a:lnTo>
                    <a:pt x="200" y="334"/>
                  </a:lnTo>
                  <a:lnTo>
                    <a:pt x="434" y="334"/>
                  </a:lnTo>
                  <a:lnTo>
                    <a:pt x="600" y="334"/>
                  </a:lnTo>
                  <a:lnTo>
                    <a:pt x="600" y="434"/>
                  </a:lnTo>
                  <a:cubicBezTo>
                    <a:pt x="600" y="452"/>
                    <a:pt x="615" y="467"/>
                    <a:pt x="634" y="467"/>
                  </a:cubicBezTo>
                  <a:cubicBezTo>
                    <a:pt x="652" y="467"/>
                    <a:pt x="667" y="452"/>
                    <a:pt x="667" y="434"/>
                  </a:cubicBezTo>
                  <a:lnTo>
                    <a:pt x="667" y="334"/>
                  </a:lnTo>
                  <a:lnTo>
                    <a:pt x="734" y="334"/>
                  </a:lnTo>
                  <a:cubicBezTo>
                    <a:pt x="770" y="334"/>
                    <a:pt x="800" y="304"/>
                    <a:pt x="800" y="267"/>
                  </a:cubicBezTo>
                  <a:lnTo>
                    <a:pt x="800" y="67"/>
                  </a:lnTo>
                  <a:cubicBezTo>
                    <a:pt x="800" y="52"/>
                    <a:pt x="795" y="38"/>
                    <a:pt x="787" y="27"/>
                  </a:cubicBezTo>
                  <a:cubicBezTo>
                    <a:pt x="775" y="11"/>
                    <a:pt x="756" y="0"/>
                    <a:pt x="734" y="0"/>
                  </a:cubicBezTo>
                  <a:lnTo>
                    <a:pt x="60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Infinite_Time"/>
            <p:cNvSpPr>
              <a:spLocks noEditPoints="1"/>
            </p:cNvSpPr>
            <p:nvPr>
              <p:custDataLst>
                <p:tags r:id="rId5"/>
              </p:custDataLst>
            </p:nvPr>
          </p:nvSpPr>
          <p:spPr bwMode="auto">
            <a:xfrm>
              <a:off x="5532040" y="1998020"/>
              <a:ext cx="1215469" cy="1085850"/>
            </a:xfrm>
            <a:custGeom>
              <a:avLst/>
              <a:gdLst>
                <a:gd name="T0" fmla="*/ 0 w 116"/>
                <a:gd name="T1" fmla="*/ 58 h 116"/>
                <a:gd name="T2" fmla="*/ 116 w 116"/>
                <a:gd name="T3" fmla="*/ 58 h 116"/>
                <a:gd name="T4" fmla="*/ 84 w 116"/>
                <a:gd name="T5" fmla="*/ 103 h 116"/>
                <a:gd name="T6" fmla="*/ 80 w 116"/>
                <a:gd name="T7" fmla="*/ 97 h 116"/>
                <a:gd name="T8" fmla="*/ 84 w 116"/>
                <a:gd name="T9" fmla="*/ 104 h 116"/>
                <a:gd name="T10" fmla="*/ 60 w 116"/>
                <a:gd name="T11" fmla="*/ 98 h 116"/>
                <a:gd name="T12" fmla="*/ 55 w 116"/>
                <a:gd name="T13" fmla="*/ 98 h 116"/>
                <a:gd name="T14" fmla="*/ 32 w 116"/>
                <a:gd name="T15" fmla="*/ 104 h 116"/>
                <a:gd name="T16" fmla="*/ 35 w 116"/>
                <a:gd name="T17" fmla="*/ 97 h 116"/>
                <a:gd name="T18" fmla="*/ 31 w 116"/>
                <a:gd name="T19" fmla="*/ 103 h 116"/>
                <a:gd name="T20" fmla="*/ 18 w 116"/>
                <a:gd name="T21" fmla="*/ 81 h 116"/>
                <a:gd name="T22" fmla="*/ 17 w 116"/>
                <a:gd name="T23" fmla="*/ 80 h 116"/>
                <a:gd name="T24" fmla="*/ 5 w 116"/>
                <a:gd name="T25" fmla="*/ 60 h 116"/>
                <a:gd name="T26" fmla="*/ 20 w 116"/>
                <a:gd name="T27" fmla="*/ 58 h 116"/>
                <a:gd name="T28" fmla="*/ 5 w 116"/>
                <a:gd name="T29" fmla="*/ 55 h 116"/>
                <a:gd name="T30" fmla="*/ 17 w 116"/>
                <a:gd name="T31" fmla="*/ 35 h 116"/>
                <a:gd name="T32" fmla="*/ 18 w 116"/>
                <a:gd name="T33" fmla="*/ 35 h 116"/>
                <a:gd name="T34" fmla="*/ 12 w 116"/>
                <a:gd name="T35" fmla="*/ 31 h 116"/>
                <a:gd name="T36" fmla="*/ 34 w 116"/>
                <a:gd name="T37" fmla="*/ 18 h 116"/>
                <a:gd name="T38" fmla="*/ 35 w 116"/>
                <a:gd name="T39" fmla="*/ 18 h 116"/>
                <a:gd name="T40" fmla="*/ 32 w 116"/>
                <a:gd name="T41" fmla="*/ 12 h 116"/>
                <a:gd name="T42" fmla="*/ 55 w 116"/>
                <a:gd name="T43" fmla="*/ 17 h 116"/>
                <a:gd name="T44" fmla="*/ 60 w 116"/>
                <a:gd name="T45" fmla="*/ 17 h 116"/>
                <a:gd name="T46" fmla="*/ 84 w 116"/>
                <a:gd name="T47" fmla="*/ 12 h 116"/>
                <a:gd name="T48" fmla="*/ 80 w 116"/>
                <a:gd name="T49" fmla="*/ 18 h 116"/>
                <a:gd name="T50" fmla="*/ 81 w 116"/>
                <a:gd name="T51" fmla="*/ 18 h 116"/>
                <a:gd name="T52" fmla="*/ 103 w 116"/>
                <a:gd name="T53" fmla="*/ 31 h 116"/>
                <a:gd name="T54" fmla="*/ 97 w 116"/>
                <a:gd name="T55" fmla="*/ 35 h 116"/>
                <a:gd name="T56" fmla="*/ 98 w 116"/>
                <a:gd name="T57" fmla="*/ 35 h 116"/>
                <a:gd name="T58" fmla="*/ 110 w 116"/>
                <a:gd name="T59" fmla="*/ 55 h 116"/>
                <a:gd name="T60" fmla="*/ 95 w 116"/>
                <a:gd name="T61" fmla="*/ 58 h 116"/>
                <a:gd name="T62" fmla="*/ 110 w 116"/>
                <a:gd name="T63" fmla="*/ 60 h 116"/>
                <a:gd name="T64" fmla="*/ 98 w 116"/>
                <a:gd name="T65" fmla="*/ 80 h 116"/>
                <a:gd name="T66" fmla="*/ 97 w 116"/>
                <a:gd name="T67" fmla="*/ 81 h 116"/>
                <a:gd name="T68" fmla="*/ 84 w 116"/>
                <a:gd name="T69" fmla="*/ 10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116">
                  <a:moveTo>
                    <a:pt x="58" y="0"/>
                  </a:moveTo>
                  <a:cubicBezTo>
                    <a:pt x="26" y="0"/>
                    <a:pt x="0" y="26"/>
                    <a:pt x="0" y="58"/>
                  </a:cubicBezTo>
                  <a:cubicBezTo>
                    <a:pt x="0" y="89"/>
                    <a:pt x="26" y="116"/>
                    <a:pt x="58" y="116"/>
                  </a:cubicBezTo>
                  <a:cubicBezTo>
                    <a:pt x="90" y="116"/>
                    <a:pt x="116" y="89"/>
                    <a:pt x="116" y="58"/>
                  </a:cubicBezTo>
                  <a:cubicBezTo>
                    <a:pt x="116" y="26"/>
                    <a:pt x="90" y="0"/>
                    <a:pt x="58" y="0"/>
                  </a:cubicBezTo>
                  <a:close/>
                  <a:moveTo>
                    <a:pt x="84" y="103"/>
                  </a:moveTo>
                  <a:lnTo>
                    <a:pt x="81" y="97"/>
                  </a:lnTo>
                  <a:cubicBezTo>
                    <a:pt x="81" y="97"/>
                    <a:pt x="81" y="97"/>
                    <a:pt x="80" y="97"/>
                  </a:cubicBezTo>
                  <a:cubicBezTo>
                    <a:pt x="80" y="97"/>
                    <a:pt x="80" y="98"/>
                    <a:pt x="80" y="98"/>
                  </a:cubicBezTo>
                  <a:lnTo>
                    <a:pt x="84" y="104"/>
                  </a:lnTo>
                  <a:cubicBezTo>
                    <a:pt x="77" y="108"/>
                    <a:pt x="69" y="110"/>
                    <a:pt x="60" y="110"/>
                  </a:cubicBezTo>
                  <a:lnTo>
                    <a:pt x="60" y="98"/>
                  </a:lnTo>
                  <a:cubicBezTo>
                    <a:pt x="60" y="96"/>
                    <a:pt x="59" y="95"/>
                    <a:pt x="58" y="95"/>
                  </a:cubicBezTo>
                  <a:cubicBezTo>
                    <a:pt x="56" y="95"/>
                    <a:pt x="55" y="96"/>
                    <a:pt x="55" y="98"/>
                  </a:cubicBezTo>
                  <a:lnTo>
                    <a:pt x="55" y="110"/>
                  </a:lnTo>
                  <a:cubicBezTo>
                    <a:pt x="47" y="110"/>
                    <a:pt x="39" y="108"/>
                    <a:pt x="32" y="104"/>
                  </a:cubicBezTo>
                  <a:lnTo>
                    <a:pt x="35" y="98"/>
                  </a:lnTo>
                  <a:cubicBezTo>
                    <a:pt x="35" y="98"/>
                    <a:pt x="35" y="97"/>
                    <a:pt x="35" y="97"/>
                  </a:cubicBezTo>
                  <a:cubicBezTo>
                    <a:pt x="34" y="97"/>
                    <a:pt x="34" y="97"/>
                    <a:pt x="34" y="97"/>
                  </a:cubicBezTo>
                  <a:lnTo>
                    <a:pt x="31" y="103"/>
                  </a:lnTo>
                  <a:cubicBezTo>
                    <a:pt x="23" y="98"/>
                    <a:pt x="17" y="92"/>
                    <a:pt x="12" y="84"/>
                  </a:cubicBezTo>
                  <a:lnTo>
                    <a:pt x="18" y="81"/>
                  </a:lnTo>
                  <a:cubicBezTo>
                    <a:pt x="18" y="81"/>
                    <a:pt x="18" y="81"/>
                    <a:pt x="18" y="80"/>
                  </a:cubicBezTo>
                  <a:cubicBezTo>
                    <a:pt x="18" y="80"/>
                    <a:pt x="18" y="80"/>
                    <a:pt x="17" y="80"/>
                  </a:cubicBezTo>
                  <a:lnTo>
                    <a:pt x="12" y="83"/>
                  </a:lnTo>
                  <a:cubicBezTo>
                    <a:pt x="8" y="76"/>
                    <a:pt x="5" y="69"/>
                    <a:pt x="5" y="60"/>
                  </a:cubicBezTo>
                  <a:lnTo>
                    <a:pt x="17" y="60"/>
                  </a:lnTo>
                  <a:cubicBezTo>
                    <a:pt x="19" y="60"/>
                    <a:pt x="20" y="59"/>
                    <a:pt x="20" y="58"/>
                  </a:cubicBezTo>
                  <a:cubicBezTo>
                    <a:pt x="20" y="56"/>
                    <a:pt x="19" y="55"/>
                    <a:pt x="17" y="55"/>
                  </a:cubicBezTo>
                  <a:lnTo>
                    <a:pt x="5" y="55"/>
                  </a:lnTo>
                  <a:cubicBezTo>
                    <a:pt x="5" y="47"/>
                    <a:pt x="8" y="39"/>
                    <a:pt x="12" y="32"/>
                  </a:cubicBezTo>
                  <a:lnTo>
                    <a:pt x="17" y="35"/>
                  </a:lnTo>
                  <a:cubicBezTo>
                    <a:pt x="17" y="35"/>
                    <a:pt x="17" y="35"/>
                    <a:pt x="18" y="35"/>
                  </a:cubicBezTo>
                  <a:cubicBezTo>
                    <a:pt x="18" y="35"/>
                    <a:pt x="18" y="35"/>
                    <a:pt x="18" y="35"/>
                  </a:cubicBezTo>
                  <a:cubicBezTo>
                    <a:pt x="18" y="34"/>
                    <a:pt x="18" y="34"/>
                    <a:pt x="18" y="34"/>
                  </a:cubicBezTo>
                  <a:lnTo>
                    <a:pt x="12" y="31"/>
                  </a:lnTo>
                  <a:cubicBezTo>
                    <a:pt x="17" y="23"/>
                    <a:pt x="23" y="17"/>
                    <a:pt x="31" y="12"/>
                  </a:cubicBezTo>
                  <a:lnTo>
                    <a:pt x="34" y="18"/>
                  </a:lnTo>
                  <a:cubicBezTo>
                    <a:pt x="34" y="18"/>
                    <a:pt x="34" y="18"/>
                    <a:pt x="34" y="18"/>
                  </a:cubicBezTo>
                  <a:cubicBezTo>
                    <a:pt x="35" y="18"/>
                    <a:pt x="35" y="18"/>
                    <a:pt x="35" y="18"/>
                  </a:cubicBezTo>
                  <a:cubicBezTo>
                    <a:pt x="35" y="18"/>
                    <a:pt x="35" y="17"/>
                    <a:pt x="35" y="17"/>
                  </a:cubicBezTo>
                  <a:lnTo>
                    <a:pt x="32" y="12"/>
                  </a:lnTo>
                  <a:cubicBezTo>
                    <a:pt x="39" y="8"/>
                    <a:pt x="47" y="5"/>
                    <a:pt x="55" y="5"/>
                  </a:cubicBezTo>
                  <a:lnTo>
                    <a:pt x="55" y="17"/>
                  </a:lnTo>
                  <a:cubicBezTo>
                    <a:pt x="55" y="19"/>
                    <a:pt x="56" y="20"/>
                    <a:pt x="58" y="20"/>
                  </a:cubicBezTo>
                  <a:cubicBezTo>
                    <a:pt x="59" y="20"/>
                    <a:pt x="60" y="19"/>
                    <a:pt x="60" y="17"/>
                  </a:cubicBezTo>
                  <a:lnTo>
                    <a:pt x="60" y="5"/>
                  </a:lnTo>
                  <a:cubicBezTo>
                    <a:pt x="69" y="5"/>
                    <a:pt x="77" y="8"/>
                    <a:pt x="84" y="12"/>
                  </a:cubicBezTo>
                  <a:lnTo>
                    <a:pt x="80" y="17"/>
                  </a:lnTo>
                  <a:cubicBezTo>
                    <a:pt x="80" y="17"/>
                    <a:pt x="80" y="18"/>
                    <a:pt x="80" y="18"/>
                  </a:cubicBezTo>
                  <a:cubicBezTo>
                    <a:pt x="81" y="18"/>
                    <a:pt x="81" y="18"/>
                    <a:pt x="81" y="18"/>
                  </a:cubicBezTo>
                  <a:cubicBezTo>
                    <a:pt x="81" y="18"/>
                    <a:pt x="81" y="18"/>
                    <a:pt x="81" y="18"/>
                  </a:cubicBezTo>
                  <a:lnTo>
                    <a:pt x="84" y="12"/>
                  </a:lnTo>
                  <a:cubicBezTo>
                    <a:pt x="92" y="17"/>
                    <a:pt x="99" y="23"/>
                    <a:pt x="103" y="31"/>
                  </a:cubicBezTo>
                  <a:lnTo>
                    <a:pt x="97" y="34"/>
                  </a:lnTo>
                  <a:cubicBezTo>
                    <a:pt x="97" y="34"/>
                    <a:pt x="97" y="34"/>
                    <a:pt x="97" y="35"/>
                  </a:cubicBezTo>
                  <a:cubicBezTo>
                    <a:pt x="97" y="35"/>
                    <a:pt x="97" y="35"/>
                    <a:pt x="98" y="35"/>
                  </a:cubicBezTo>
                  <a:cubicBezTo>
                    <a:pt x="98" y="35"/>
                    <a:pt x="98" y="35"/>
                    <a:pt x="98" y="35"/>
                  </a:cubicBezTo>
                  <a:lnTo>
                    <a:pt x="104" y="32"/>
                  </a:lnTo>
                  <a:cubicBezTo>
                    <a:pt x="108" y="39"/>
                    <a:pt x="110" y="47"/>
                    <a:pt x="110" y="55"/>
                  </a:cubicBezTo>
                  <a:lnTo>
                    <a:pt x="98" y="55"/>
                  </a:lnTo>
                  <a:cubicBezTo>
                    <a:pt x="96" y="55"/>
                    <a:pt x="95" y="56"/>
                    <a:pt x="95" y="58"/>
                  </a:cubicBezTo>
                  <a:cubicBezTo>
                    <a:pt x="95" y="59"/>
                    <a:pt x="96" y="60"/>
                    <a:pt x="98" y="60"/>
                  </a:cubicBezTo>
                  <a:lnTo>
                    <a:pt x="110" y="60"/>
                  </a:lnTo>
                  <a:cubicBezTo>
                    <a:pt x="110" y="69"/>
                    <a:pt x="108" y="76"/>
                    <a:pt x="104" y="83"/>
                  </a:cubicBezTo>
                  <a:lnTo>
                    <a:pt x="98" y="80"/>
                  </a:lnTo>
                  <a:cubicBezTo>
                    <a:pt x="98" y="80"/>
                    <a:pt x="97" y="80"/>
                    <a:pt x="97" y="80"/>
                  </a:cubicBezTo>
                  <a:cubicBezTo>
                    <a:pt x="97" y="81"/>
                    <a:pt x="97" y="81"/>
                    <a:pt x="97" y="81"/>
                  </a:cubicBezTo>
                  <a:lnTo>
                    <a:pt x="103" y="84"/>
                  </a:lnTo>
                  <a:cubicBezTo>
                    <a:pt x="99" y="92"/>
                    <a:pt x="92" y="98"/>
                    <a:pt x="84" y="10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4" name="Budget" descr="{&quot;Key&quot;:&quot;POWER_USER_SHAPE_ICON&quot;,&quot;Value&quot;:&quot;POWER_USER_SHAPE_ICON_STYLE_1&quot;}"/>
            <p:cNvGrpSpPr>
              <a:grpSpLocks noChangeAspect="1"/>
            </p:cNvGrpSpPr>
            <p:nvPr>
              <p:custDataLst>
                <p:tags r:id="rId6"/>
              </p:custDataLst>
            </p:nvPr>
          </p:nvGrpSpPr>
          <p:grpSpPr>
            <a:xfrm>
              <a:off x="5823987" y="2280008"/>
              <a:ext cx="578197" cy="542925"/>
              <a:chOff x="6292850" y="2528888"/>
              <a:chExt cx="728663" cy="684212"/>
            </a:xfrm>
            <a:solidFill>
              <a:schemeClr val="accent1"/>
            </a:solidFill>
          </p:grpSpPr>
          <p:sp>
            <p:nvSpPr>
              <p:cNvPr id="105" name="Freeform 234"/>
              <p:cNvSpPr>
                <a:spLocks/>
              </p:cNvSpPr>
              <p:nvPr/>
            </p:nvSpPr>
            <p:spPr bwMode="auto">
              <a:xfrm>
                <a:off x="6621463" y="2552700"/>
                <a:ext cx="215900" cy="174625"/>
              </a:xfrm>
              <a:custGeom>
                <a:avLst/>
                <a:gdLst>
                  <a:gd name="T0" fmla="*/ 140 w 285"/>
                  <a:gd name="T1" fmla="*/ 228 h 228"/>
                  <a:gd name="T2" fmla="*/ 285 w 285"/>
                  <a:gd name="T3" fmla="*/ 83 h 228"/>
                  <a:gd name="T4" fmla="*/ 47 w 285"/>
                  <a:gd name="T5" fmla="*/ 0 h 228"/>
                  <a:gd name="T6" fmla="*/ 0 w 285"/>
                  <a:gd name="T7" fmla="*/ 3 h 228"/>
                  <a:gd name="T8" fmla="*/ 49 w 285"/>
                  <a:gd name="T9" fmla="*/ 203 h 228"/>
                  <a:gd name="T10" fmla="*/ 140 w 285"/>
                  <a:gd name="T11" fmla="*/ 228 h 228"/>
                </a:gdLst>
                <a:ahLst/>
                <a:cxnLst>
                  <a:cxn ang="0">
                    <a:pos x="T0" y="T1"/>
                  </a:cxn>
                  <a:cxn ang="0">
                    <a:pos x="T2" y="T3"/>
                  </a:cxn>
                  <a:cxn ang="0">
                    <a:pos x="T4" y="T5"/>
                  </a:cxn>
                  <a:cxn ang="0">
                    <a:pos x="T6" y="T7"/>
                  </a:cxn>
                  <a:cxn ang="0">
                    <a:pos x="T8" y="T9"/>
                  </a:cxn>
                  <a:cxn ang="0">
                    <a:pos x="T10" y="T11"/>
                  </a:cxn>
                </a:cxnLst>
                <a:rect l="0" t="0" r="r" b="b"/>
                <a:pathLst>
                  <a:path w="285" h="228">
                    <a:moveTo>
                      <a:pt x="140" y="228"/>
                    </a:moveTo>
                    <a:lnTo>
                      <a:pt x="285" y="83"/>
                    </a:lnTo>
                    <a:cubicBezTo>
                      <a:pt x="220" y="31"/>
                      <a:pt x="137" y="0"/>
                      <a:pt x="47" y="0"/>
                    </a:cubicBezTo>
                    <a:cubicBezTo>
                      <a:pt x="31" y="0"/>
                      <a:pt x="15" y="2"/>
                      <a:pt x="0" y="3"/>
                    </a:cubicBezTo>
                    <a:lnTo>
                      <a:pt x="49" y="203"/>
                    </a:lnTo>
                    <a:cubicBezTo>
                      <a:pt x="82" y="203"/>
                      <a:pt x="113" y="213"/>
                      <a:pt x="140" y="2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235"/>
              <p:cNvSpPr>
                <a:spLocks/>
              </p:cNvSpPr>
              <p:nvPr/>
            </p:nvSpPr>
            <p:spPr bwMode="auto">
              <a:xfrm>
                <a:off x="6777038" y="2665413"/>
                <a:ext cx="173038" cy="363538"/>
              </a:xfrm>
              <a:custGeom>
                <a:avLst/>
                <a:gdLst>
                  <a:gd name="T0" fmla="*/ 0 w 228"/>
                  <a:gd name="T1" fmla="*/ 145 h 477"/>
                  <a:gd name="T2" fmla="*/ 26 w 228"/>
                  <a:gd name="T3" fmla="*/ 239 h 477"/>
                  <a:gd name="T4" fmla="*/ 0 w 228"/>
                  <a:gd name="T5" fmla="*/ 332 h 477"/>
                  <a:gd name="T6" fmla="*/ 145 w 228"/>
                  <a:gd name="T7" fmla="*/ 477 h 477"/>
                  <a:gd name="T8" fmla="*/ 228 w 228"/>
                  <a:gd name="T9" fmla="*/ 239 h 477"/>
                  <a:gd name="T10" fmla="*/ 145 w 228"/>
                  <a:gd name="T11" fmla="*/ 0 h 477"/>
                  <a:gd name="T12" fmla="*/ 0 w 228"/>
                  <a:gd name="T13" fmla="*/ 145 h 477"/>
                </a:gdLst>
                <a:ahLst/>
                <a:cxnLst>
                  <a:cxn ang="0">
                    <a:pos x="T0" y="T1"/>
                  </a:cxn>
                  <a:cxn ang="0">
                    <a:pos x="T2" y="T3"/>
                  </a:cxn>
                  <a:cxn ang="0">
                    <a:pos x="T4" y="T5"/>
                  </a:cxn>
                  <a:cxn ang="0">
                    <a:pos x="T6" y="T7"/>
                  </a:cxn>
                  <a:cxn ang="0">
                    <a:pos x="T8" y="T9"/>
                  </a:cxn>
                  <a:cxn ang="0">
                    <a:pos x="T10" y="T11"/>
                  </a:cxn>
                  <a:cxn ang="0">
                    <a:pos x="T12" y="T13"/>
                  </a:cxn>
                </a:cxnLst>
                <a:rect l="0" t="0" r="r" b="b"/>
                <a:pathLst>
                  <a:path w="228" h="477">
                    <a:moveTo>
                      <a:pt x="0" y="145"/>
                    </a:moveTo>
                    <a:cubicBezTo>
                      <a:pt x="16" y="173"/>
                      <a:pt x="26" y="205"/>
                      <a:pt x="26" y="239"/>
                    </a:cubicBezTo>
                    <a:cubicBezTo>
                      <a:pt x="26" y="273"/>
                      <a:pt x="16" y="305"/>
                      <a:pt x="0" y="332"/>
                    </a:cubicBezTo>
                    <a:lnTo>
                      <a:pt x="145" y="477"/>
                    </a:lnTo>
                    <a:cubicBezTo>
                      <a:pt x="197" y="412"/>
                      <a:pt x="228" y="329"/>
                      <a:pt x="228" y="239"/>
                    </a:cubicBezTo>
                    <a:cubicBezTo>
                      <a:pt x="228" y="149"/>
                      <a:pt x="197" y="66"/>
                      <a:pt x="145" y="0"/>
                    </a:cubicBezTo>
                    <a:lnTo>
                      <a:pt x="0" y="1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236"/>
              <p:cNvSpPr>
                <a:spLocks/>
              </p:cNvSpPr>
              <p:nvPr/>
            </p:nvSpPr>
            <p:spPr bwMode="auto">
              <a:xfrm>
                <a:off x="6367463" y="2571750"/>
                <a:ext cx="222250" cy="231775"/>
              </a:xfrm>
              <a:custGeom>
                <a:avLst/>
                <a:gdLst>
                  <a:gd name="T0" fmla="*/ 291 w 291"/>
                  <a:gd name="T1" fmla="*/ 200 h 303"/>
                  <a:gd name="T2" fmla="*/ 242 w 291"/>
                  <a:gd name="T3" fmla="*/ 0 h 303"/>
                  <a:gd name="T4" fmla="*/ 0 w 291"/>
                  <a:gd name="T5" fmla="*/ 287 h 303"/>
                  <a:gd name="T6" fmla="*/ 205 w 291"/>
                  <a:gd name="T7" fmla="*/ 303 h 303"/>
                  <a:gd name="T8" fmla="*/ 291 w 291"/>
                  <a:gd name="T9" fmla="*/ 200 h 303"/>
                </a:gdLst>
                <a:ahLst/>
                <a:cxnLst>
                  <a:cxn ang="0">
                    <a:pos x="T0" y="T1"/>
                  </a:cxn>
                  <a:cxn ang="0">
                    <a:pos x="T2" y="T3"/>
                  </a:cxn>
                  <a:cxn ang="0">
                    <a:pos x="T4" y="T5"/>
                  </a:cxn>
                  <a:cxn ang="0">
                    <a:pos x="T6" y="T7"/>
                  </a:cxn>
                  <a:cxn ang="0">
                    <a:pos x="T8" y="T9"/>
                  </a:cxn>
                </a:cxnLst>
                <a:rect l="0" t="0" r="r" b="b"/>
                <a:pathLst>
                  <a:path w="291" h="303">
                    <a:moveTo>
                      <a:pt x="291" y="200"/>
                    </a:moveTo>
                    <a:lnTo>
                      <a:pt x="242" y="0"/>
                    </a:lnTo>
                    <a:cubicBezTo>
                      <a:pt x="119" y="47"/>
                      <a:pt x="25" y="155"/>
                      <a:pt x="0" y="287"/>
                    </a:cubicBezTo>
                    <a:lnTo>
                      <a:pt x="205" y="303"/>
                    </a:lnTo>
                    <a:cubicBezTo>
                      <a:pt x="220" y="258"/>
                      <a:pt x="251" y="222"/>
                      <a:pt x="291" y="2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237"/>
              <p:cNvSpPr>
                <a:spLocks/>
              </p:cNvSpPr>
              <p:nvPr/>
            </p:nvSpPr>
            <p:spPr bwMode="auto">
              <a:xfrm>
                <a:off x="6362700" y="2860675"/>
                <a:ext cx="474663" cy="280988"/>
              </a:xfrm>
              <a:custGeom>
                <a:avLst/>
                <a:gdLst>
                  <a:gd name="T0" fmla="*/ 386 w 624"/>
                  <a:gd name="T1" fmla="*/ 166 h 369"/>
                  <a:gd name="T2" fmla="*/ 205 w 624"/>
                  <a:gd name="T3" fmla="*/ 15 h 369"/>
                  <a:gd name="T4" fmla="*/ 0 w 624"/>
                  <a:gd name="T5" fmla="*/ 0 h 369"/>
                  <a:gd name="T6" fmla="*/ 386 w 624"/>
                  <a:gd name="T7" fmla="*/ 369 h 369"/>
                  <a:gd name="T8" fmla="*/ 624 w 624"/>
                  <a:gd name="T9" fmla="*/ 286 h 369"/>
                  <a:gd name="T10" fmla="*/ 479 w 624"/>
                  <a:gd name="T11" fmla="*/ 141 h 369"/>
                  <a:gd name="T12" fmla="*/ 386 w 624"/>
                  <a:gd name="T13" fmla="*/ 166 h 369"/>
                </a:gdLst>
                <a:ahLst/>
                <a:cxnLst>
                  <a:cxn ang="0">
                    <a:pos x="T0" y="T1"/>
                  </a:cxn>
                  <a:cxn ang="0">
                    <a:pos x="T2" y="T3"/>
                  </a:cxn>
                  <a:cxn ang="0">
                    <a:pos x="T4" y="T5"/>
                  </a:cxn>
                  <a:cxn ang="0">
                    <a:pos x="T6" y="T7"/>
                  </a:cxn>
                  <a:cxn ang="0">
                    <a:pos x="T8" y="T9"/>
                  </a:cxn>
                  <a:cxn ang="0">
                    <a:pos x="T10" y="T11"/>
                  </a:cxn>
                  <a:cxn ang="0">
                    <a:pos x="T12" y="T13"/>
                  </a:cxn>
                </a:cxnLst>
                <a:rect l="0" t="0" r="r" b="b"/>
                <a:pathLst>
                  <a:path w="624" h="369">
                    <a:moveTo>
                      <a:pt x="386" y="166"/>
                    </a:moveTo>
                    <a:cubicBezTo>
                      <a:pt x="295" y="166"/>
                      <a:pt x="220" y="101"/>
                      <a:pt x="205" y="15"/>
                    </a:cubicBezTo>
                    <a:lnTo>
                      <a:pt x="0" y="0"/>
                    </a:lnTo>
                    <a:cubicBezTo>
                      <a:pt x="9" y="205"/>
                      <a:pt x="178" y="369"/>
                      <a:pt x="386" y="369"/>
                    </a:cubicBezTo>
                    <a:cubicBezTo>
                      <a:pt x="476" y="369"/>
                      <a:pt x="559" y="338"/>
                      <a:pt x="624" y="286"/>
                    </a:cubicBezTo>
                    <a:lnTo>
                      <a:pt x="479" y="141"/>
                    </a:lnTo>
                    <a:cubicBezTo>
                      <a:pt x="452" y="157"/>
                      <a:pt x="420" y="166"/>
                      <a:pt x="386" y="1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238"/>
              <p:cNvSpPr>
                <a:spLocks/>
              </p:cNvSpPr>
              <p:nvPr/>
            </p:nvSpPr>
            <p:spPr bwMode="auto">
              <a:xfrm>
                <a:off x="6821488" y="2528888"/>
                <a:ext cx="200025" cy="427038"/>
              </a:xfrm>
              <a:custGeom>
                <a:avLst/>
                <a:gdLst>
                  <a:gd name="T0" fmla="*/ 17 w 263"/>
                  <a:gd name="T1" fmla="*/ 0 h 560"/>
                  <a:gd name="T2" fmla="*/ 0 w 263"/>
                  <a:gd name="T3" fmla="*/ 31 h 560"/>
                  <a:gd name="T4" fmla="*/ 227 w 263"/>
                  <a:gd name="T5" fmla="*/ 418 h 560"/>
                  <a:gd name="T6" fmla="*/ 207 w 263"/>
                  <a:gd name="T7" fmla="*/ 549 h 560"/>
                  <a:gd name="T8" fmla="*/ 241 w 263"/>
                  <a:gd name="T9" fmla="*/ 560 h 560"/>
                  <a:gd name="T10" fmla="*/ 263 w 263"/>
                  <a:gd name="T11" fmla="*/ 418 h 560"/>
                  <a:gd name="T12" fmla="*/ 17 w 263"/>
                  <a:gd name="T13" fmla="*/ 0 h 560"/>
                </a:gdLst>
                <a:ahLst/>
                <a:cxnLst>
                  <a:cxn ang="0">
                    <a:pos x="T0" y="T1"/>
                  </a:cxn>
                  <a:cxn ang="0">
                    <a:pos x="T2" y="T3"/>
                  </a:cxn>
                  <a:cxn ang="0">
                    <a:pos x="T4" y="T5"/>
                  </a:cxn>
                  <a:cxn ang="0">
                    <a:pos x="T6" y="T7"/>
                  </a:cxn>
                  <a:cxn ang="0">
                    <a:pos x="T8" y="T9"/>
                  </a:cxn>
                  <a:cxn ang="0">
                    <a:pos x="T10" y="T11"/>
                  </a:cxn>
                  <a:cxn ang="0">
                    <a:pos x="T12" y="T13"/>
                  </a:cxn>
                </a:cxnLst>
                <a:rect l="0" t="0" r="r" b="b"/>
                <a:pathLst>
                  <a:path w="263" h="560">
                    <a:moveTo>
                      <a:pt x="17" y="0"/>
                    </a:moveTo>
                    <a:lnTo>
                      <a:pt x="0" y="31"/>
                    </a:lnTo>
                    <a:cubicBezTo>
                      <a:pt x="140" y="109"/>
                      <a:pt x="227" y="257"/>
                      <a:pt x="227" y="418"/>
                    </a:cubicBezTo>
                    <a:cubicBezTo>
                      <a:pt x="227" y="463"/>
                      <a:pt x="221" y="507"/>
                      <a:pt x="207" y="549"/>
                    </a:cubicBezTo>
                    <a:lnTo>
                      <a:pt x="241" y="560"/>
                    </a:lnTo>
                    <a:cubicBezTo>
                      <a:pt x="255" y="514"/>
                      <a:pt x="263" y="466"/>
                      <a:pt x="263" y="418"/>
                    </a:cubicBezTo>
                    <a:cubicBezTo>
                      <a:pt x="263" y="245"/>
                      <a:pt x="169" y="84"/>
                      <a:pt x="1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239"/>
              <p:cNvSpPr>
                <a:spLocks/>
              </p:cNvSpPr>
              <p:nvPr/>
            </p:nvSpPr>
            <p:spPr bwMode="auto">
              <a:xfrm>
                <a:off x="6292850" y="2847975"/>
                <a:ext cx="363538" cy="365125"/>
              </a:xfrm>
              <a:custGeom>
                <a:avLst/>
                <a:gdLst>
                  <a:gd name="T0" fmla="*/ 35 w 478"/>
                  <a:gd name="T1" fmla="*/ 0 h 478"/>
                  <a:gd name="T2" fmla="*/ 0 w 478"/>
                  <a:gd name="T3" fmla="*/ 0 h 478"/>
                  <a:gd name="T4" fmla="*/ 478 w 478"/>
                  <a:gd name="T5" fmla="*/ 478 h 478"/>
                  <a:gd name="T6" fmla="*/ 478 w 478"/>
                  <a:gd name="T7" fmla="*/ 443 h 478"/>
                  <a:gd name="T8" fmla="*/ 35 w 478"/>
                  <a:gd name="T9" fmla="*/ 0 h 478"/>
                </a:gdLst>
                <a:ahLst/>
                <a:cxnLst>
                  <a:cxn ang="0">
                    <a:pos x="T0" y="T1"/>
                  </a:cxn>
                  <a:cxn ang="0">
                    <a:pos x="T2" y="T3"/>
                  </a:cxn>
                  <a:cxn ang="0">
                    <a:pos x="T4" y="T5"/>
                  </a:cxn>
                  <a:cxn ang="0">
                    <a:pos x="T6" y="T7"/>
                  </a:cxn>
                  <a:cxn ang="0">
                    <a:pos x="T8" y="T9"/>
                  </a:cxn>
                </a:cxnLst>
                <a:rect l="0" t="0" r="r" b="b"/>
                <a:pathLst>
                  <a:path w="478" h="478">
                    <a:moveTo>
                      <a:pt x="35" y="0"/>
                    </a:moveTo>
                    <a:lnTo>
                      <a:pt x="0" y="0"/>
                    </a:lnTo>
                    <a:cubicBezTo>
                      <a:pt x="0" y="264"/>
                      <a:pt x="214" y="478"/>
                      <a:pt x="478" y="478"/>
                    </a:cubicBezTo>
                    <a:lnTo>
                      <a:pt x="478" y="443"/>
                    </a:lnTo>
                    <a:cubicBezTo>
                      <a:pt x="234" y="443"/>
                      <a:pt x="35" y="244"/>
                      <a:pt x="3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240"/>
              <p:cNvSpPr>
                <a:spLocks/>
              </p:cNvSpPr>
              <p:nvPr/>
            </p:nvSpPr>
            <p:spPr bwMode="auto">
              <a:xfrm>
                <a:off x="6602413" y="2749550"/>
                <a:ext cx="109538" cy="196850"/>
              </a:xfrm>
              <a:custGeom>
                <a:avLst/>
                <a:gdLst>
                  <a:gd name="T0" fmla="*/ 72 w 144"/>
                  <a:gd name="T1" fmla="*/ 58 h 259"/>
                  <a:gd name="T2" fmla="*/ 108 w 144"/>
                  <a:gd name="T3" fmla="*/ 85 h 259"/>
                  <a:gd name="T4" fmla="*/ 144 w 144"/>
                  <a:gd name="T5" fmla="*/ 85 h 259"/>
                  <a:gd name="T6" fmla="*/ 90 w 144"/>
                  <a:gd name="T7" fmla="*/ 24 h 259"/>
                  <a:gd name="T8" fmla="*/ 90 w 144"/>
                  <a:gd name="T9" fmla="*/ 0 h 259"/>
                  <a:gd name="T10" fmla="*/ 54 w 144"/>
                  <a:gd name="T11" fmla="*/ 0 h 259"/>
                  <a:gd name="T12" fmla="*/ 54 w 144"/>
                  <a:gd name="T13" fmla="*/ 24 h 259"/>
                  <a:gd name="T14" fmla="*/ 0 w 144"/>
                  <a:gd name="T15" fmla="*/ 85 h 259"/>
                  <a:gd name="T16" fmla="*/ 72 w 144"/>
                  <a:gd name="T17" fmla="*/ 148 h 259"/>
                  <a:gd name="T18" fmla="*/ 108 w 144"/>
                  <a:gd name="T19" fmla="*/ 175 h 259"/>
                  <a:gd name="T20" fmla="*/ 72 w 144"/>
                  <a:gd name="T21" fmla="*/ 201 h 259"/>
                  <a:gd name="T22" fmla="*/ 36 w 144"/>
                  <a:gd name="T23" fmla="*/ 175 h 259"/>
                  <a:gd name="T24" fmla="*/ 0 w 144"/>
                  <a:gd name="T25" fmla="*/ 175 h 259"/>
                  <a:gd name="T26" fmla="*/ 54 w 144"/>
                  <a:gd name="T27" fmla="*/ 235 h 259"/>
                  <a:gd name="T28" fmla="*/ 54 w 144"/>
                  <a:gd name="T29" fmla="*/ 259 h 259"/>
                  <a:gd name="T30" fmla="*/ 90 w 144"/>
                  <a:gd name="T31" fmla="*/ 259 h 259"/>
                  <a:gd name="T32" fmla="*/ 90 w 144"/>
                  <a:gd name="T33" fmla="*/ 235 h 259"/>
                  <a:gd name="T34" fmla="*/ 144 w 144"/>
                  <a:gd name="T35" fmla="*/ 175 h 259"/>
                  <a:gd name="T36" fmla="*/ 72 w 144"/>
                  <a:gd name="T37" fmla="*/ 112 h 259"/>
                  <a:gd name="T38" fmla="*/ 36 w 144"/>
                  <a:gd name="T39" fmla="*/ 85 h 259"/>
                  <a:gd name="T40" fmla="*/ 72 w 144"/>
                  <a:gd name="T41" fmla="*/ 5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259">
                    <a:moveTo>
                      <a:pt x="72" y="58"/>
                    </a:moveTo>
                    <a:cubicBezTo>
                      <a:pt x="91" y="58"/>
                      <a:pt x="108" y="70"/>
                      <a:pt x="108" y="85"/>
                    </a:cubicBezTo>
                    <a:lnTo>
                      <a:pt x="144" y="85"/>
                    </a:lnTo>
                    <a:cubicBezTo>
                      <a:pt x="144" y="56"/>
                      <a:pt x="121" y="31"/>
                      <a:pt x="90" y="24"/>
                    </a:cubicBezTo>
                    <a:lnTo>
                      <a:pt x="90" y="0"/>
                    </a:lnTo>
                    <a:lnTo>
                      <a:pt x="54" y="0"/>
                    </a:lnTo>
                    <a:lnTo>
                      <a:pt x="54" y="24"/>
                    </a:lnTo>
                    <a:cubicBezTo>
                      <a:pt x="23" y="31"/>
                      <a:pt x="0" y="56"/>
                      <a:pt x="0" y="85"/>
                    </a:cubicBezTo>
                    <a:cubicBezTo>
                      <a:pt x="0" y="116"/>
                      <a:pt x="23" y="148"/>
                      <a:pt x="72" y="148"/>
                    </a:cubicBezTo>
                    <a:cubicBezTo>
                      <a:pt x="94" y="148"/>
                      <a:pt x="108" y="158"/>
                      <a:pt x="108" y="175"/>
                    </a:cubicBezTo>
                    <a:cubicBezTo>
                      <a:pt x="108" y="189"/>
                      <a:pt x="91" y="201"/>
                      <a:pt x="72" y="201"/>
                    </a:cubicBezTo>
                    <a:cubicBezTo>
                      <a:pt x="53" y="201"/>
                      <a:pt x="36" y="189"/>
                      <a:pt x="36" y="175"/>
                    </a:cubicBezTo>
                    <a:lnTo>
                      <a:pt x="0" y="175"/>
                    </a:lnTo>
                    <a:cubicBezTo>
                      <a:pt x="0" y="204"/>
                      <a:pt x="23" y="228"/>
                      <a:pt x="54" y="235"/>
                    </a:cubicBezTo>
                    <a:lnTo>
                      <a:pt x="54" y="259"/>
                    </a:lnTo>
                    <a:lnTo>
                      <a:pt x="90" y="259"/>
                    </a:lnTo>
                    <a:lnTo>
                      <a:pt x="90" y="235"/>
                    </a:lnTo>
                    <a:cubicBezTo>
                      <a:pt x="121" y="228"/>
                      <a:pt x="144" y="204"/>
                      <a:pt x="144" y="175"/>
                    </a:cubicBezTo>
                    <a:cubicBezTo>
                      <a:pt x="144" y="138"/>
                      <a:pt x="114" y="112"/>
                      <a:pt x="72" y="112"/>
                    </a:cubicBezTo>
                    <a:cubicBezTo>
                      <a:pt x="49" y="112"/>
                      <a:pt x="36" y="102"/>
                      <a:pt x="36" y="85"/>
                    </a:cubicBezTo>
                    <a:cubicBezTo>
                      <a:pt x="36" y="70"/>
                      <a:pt x="53" y="58"/>
                      <a:pt x="72" y="5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custDataLst>
      <p:tags r:id="rId1"/>
    </p:custDataLst>
    <p:extLst>
      <p:ext uri="{BB962C8B-B14F-4D97-AF65-F5344CB8AC3E}">
        <p14:creationId xmlns:p14="http://schemas.microsoft.com/office/powerpoint/2010/main" val="1754578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274638"/>
            <a:ext cx="11242089" cy="822696"/>
          </a:xfrm>
        </p:spPr>
        <p:txBody>
          <a:bodyPr>
            <a:normAutofit fontScale="90000"/>
          </a:bodyPr>
          <a:lstStyle/>
          <a:p>
            <a:r>
              <a:rPr lang="en-US" sz="2400" dirty="0">
                <a:solidFill>
                  <a:srgbClr val="00B050"/>
                </a:solidFill>
              </a:rPr>
              <a:t>Blockchain</a:t>
            </a:r>
            <a:r>
              <a:rPr lang="en-US" dirty="0"/>
              <a:t> </a:t>
            </a:r>
            <a:r>
              <a:rPr lang="en-US" sz="2400" dirty="0">
                <a:solidFill>
                  <a:srgbClr val="00B050"/>
                </a:solidFill>
              </a:rPr>
              <a:t>and IoT devices-based system in Food Product Industry to improve traceability and transparency</a:t>
            </a:r>
          </a:p>
        </p:txBody>
      </p:sp>
      <p:graphicFrame>
        <p:nvGraphicFramePr>
          <p:cNvPr id="4" name="Chart 3"/>
          <p:cNvGraphicFramePr/>
          <p:nvPr>
            <p:extLst>
              <p:ext uri="{D42A27DB-BD31-4B8C-83A1-F6EECF244321}">
                <p14:modId xmlns:p14="http://schemas.microsoft.com/office/powerpoint/2010/main" val="2723313422"/>
              </p:ext>
            </p:extLst>
          </p:nvPr>
        </p:nvGraphicFramePr>
        <p:xfrm>
          <a:off x="791570" y="1348922"/>
          <a:ext cx="5486400" cy="4411744"/>
        </p:xfrm>
        <a:graphic>
          <a:graphicData uri="http://schemas.openxmlformats.org/drawingml/2006/chart">
            <c:chart xmlns:c="http://schemas.openxmlformats.org/drawingml/2006/chart" xmlns:r="http://schemas.openxmlformats.org/officeDocument/2006/relationships" r:id="rId4"/>
          </a:graphicData>
        </a:graphic>
      </p:graphicFrame>
      <p:sp>
        <p:nvSpPr>
          <p:cNvPr id="5" name="Sticky Note"/>
          <p:cNvSpPr>
            <a:spLocks noChangeAspect="1"/>
          </p:cNvSpPr>
          <p:nvPr>
            <p:custDataLst>
              <p:tags r:id="rId1"/>
            </p:custDataLst>
          </p:nvPr>
        </p:nvSpPr>
        <p:spPr>
          <a:xfrm>
            <a:off x="7087240" y="1332628"/>
            <a:ext cx="4495160" cy="1669086"/>
          </a:xfrm>
          <a:prstGeom prst="foldedCorner">
            <a:avLst/>
          </a:prstGeom>
          <a:solidFill>
            <a:srgbClr val="FFC000"/>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dirty="0">
              <a:solidFill>
                <a:schemeClr val="tx1"/>
              </a:solidFill>
            </a:endParaRPr>
          </a:p>
          <a:p>
            <a:r>
              <a:rPr lang="en-US" sz="1600" b="1" dirty="0">
                <a:solidFill>
                  <a:srgbClr val="7A7979"/>
                </a:solidFill>
              </a:rPr>
              <a:t>Globally Blockchain market is expected to grow at a CAGR of 67.3% from 2020 to reach $39.7 billion by 2025.</a:t>
            </a:r>
            <a:endParaRPr lang="en-US" sz="1600" dirty="0"/>
          </a:p>
        </p:txBody>
      </p:sp>
      <p:sp>
        <p:nvSpPr>
          <p:cNvPr id="7" name="Sticky Note"/>
          <p:cNvSpPr>
            <a:spLocks noChangeAspect="1"/>
          </p:cNvSpPr>
          <p:nvPr>
            <p:custDataLst>
              <p:tags r:id="rId2"/>
            </p:custDataLst>
          </p:nvPr>
        </p:nvSpPr>
        <p:spPr>
          <a:xfrm>
            <a:off x="7087239" y="3183982"/>
            <a:ext cx="4523484" cy="1852041"/>
          </a:xfrm>
          <a:prstGeom prst="foldedCorner">
            <a:avLst/>
          </a:prstGeom>
          <a:solidFill>
            <a:srgbClr val="B5FAFD"/>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dirty="0">
              <a:solidFill>
                <a:schemeClr val="tx1"/>
              </a:solidFill>
            </a:endParaRPr>
          </a:p>
          <a:p>
            <a:endParaRPr lang="en-US" sz="1600" b="1" dirty="0">
              <a:solidFill>
                <a:srgbClr val="7A7979"/>
              </a:solidFill>
            </a:endParaRPr>
          </a:p>
          <a:p>
            <a:endParaRPr lang="en-US" sz="1600" b="1" dirty="0">
              <a:solidFill>
                <a:srgbClr val="7A7979"/>
              </a:solidFill>
            </a:endParaRPr>
          </a:p>
          <a:p>
            <a:r>
              <a:rPr lang="en-US" sz="1600" b="1" dirty="0">
                <a:solidFill>
                  <a:srgbClr val="7A7979"/>
                </a:solidFill>
              </a:rPr>
              <a:t>As per the official data, about 35% manufacturing industries adopt blockchain technology for Food safety and traceability by 2022. </a:t>
            </a:r>
            <a:br>
              <a:rPr lang="en-US" sz="1000" dirty="0">
                <a:solidFill>
                  <a:srgbClr val="000000"/>
                </a:solidFill>
                <a:latin typeface="arial" panose="020B0604020202020204" pitchFamily="34" charset="0"/>
              </a:rPr>
            </a:br>
            <a:endParaRPr lang="en-US" sz="1000" dirty="0">
              <a:solidFill>
                <a:srgbClr val="000000"/>
              </a:solidFill>
              <a:latin typeface="arial" panose="020B0604020202020204" pitchFamily="34" charset="0"/>
            </a:endParaRPr>
          </a:p>
          <a:p>
            <a:endParaRPr lang="en-US" sz="1600" dirty="0"/>
          </a:p>
        </p:txBody>
      </p:sp>
      <p:sp>
        <p:nvSpPr>
          <p:cNvPr id="8" name="TextBox 7"/>
          <p:cNvSpPr txBox="1"/>
          <p:nvPr/>
        </p:nvSpPr>
        <p:spPr>
          <a:xfrm>
            <a:off x="7087239" y="2664758"/>
            <a:ext cx="1787568" cy="246221"/>
          </a:xfrm>
          <a:prstGeom prst="rect">
            <a:avLst/>
          </a:prstGeom>
          <a:noFill/>
        </p:spPr>
        <p:txBody>
          <a:bodyPr wrap="square" rtlCol="0">
            <a:spAutoFit/>
          </a:bodyPr>
          <a:lstStyle/>
          <a:p>
            <a:r>
              <a:rPr lang="en-US" sz="1000" dirty="0"/>
              <a:t>Source:-</a:t>
            </a:r>
            <a:r>
              <a:rPr lang="en-US" sz="1000" dirty="0">
                <a:hlinkClick r:id="rId5"/>
              </a:rPr>
              <a:t>Article</a:t>
            </a:r>
            <a:endParaRPr lang="en-US" sz="1000" dirty="0"/>
          </a:p>
        </p:txBody>
      </p:sp>
    </p:spTree>
    <p:extLst>
      <p:ext uri="{BB962C8B-B14F-4D97-AF65-F5344CB8AC3E}">
        <p14:creationId xmlns:p14="http://schemas.microsoft.com/office/powerpoint/2010/main" val="2511879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7FE3B8A4-616F-4389-AD8D-53BBA4B1B3AD}"/>
              </a:ext>
            </a:extLst>
          </p:cNvPr>
          <p:cNvSpPr/>
          <p:nvPr/>
        </p:nvSpPr>
        <p:spPr>
          <a:xfrm>
            <a:off x="2792688" y="1058782"/>
            <a:ext cx="2205654" cy="102549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E8E9D9C2-B742-48FA-8CFD-54D96058753E}"/>
              </a:ext>
            </a:extLst>
          </p:cNvPr>
          <p:cNvSpPr/>
          <p:nvPr/>
        </p:nvSpPr>
        <p:spPr>
          <a:xfrm>
            <a:off x="2672183" y="2166283"/>
            <a:ext cx="1322773" cy="547877"/>
          </a:xfrm>
          <a:prstGeom prst="roundRect">
            <a:avLst/>
          </a:prstGeom>
          <a:solidFill>
            <a:srgbClr val="B5FA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itle 12">
            <a:extLst>
              <a:ext uri="{FF2B5EF4-FFF2-40B4-BE49-F238E27FC236}">
                <a16:creationId xmlns:a16="http://schemas.microsoft.com/office/drawing/2014/main" id="{CC27693C-F4F8-4B92-850D-6973BFCAE77A}"/>
              </a:ext>
            </a:extLst>
          </p:cNvPr>
          <p:cNvSpPr>
            <a:spLocks noGrp="1"/>
          </p:cNvSpPr>
          <p:nvPr>
            <p:ph type="title"/>
          </p:nvPr>
        </p:nvSpPr>
        <p:spPr>
          <a:xfrm>
            <a:off x="186788" y="130734"/>
            <a:ext cx="8921672" cy="457990"/>
          </a:xfrm>
        </p:spPr>
        <p:txBody>
          <a:bodyPr/>
          <a:lstStyle/>
          <a:p>
            <a:r>
              <a:rPr lang="en-US" sz="2800" b="1" dirty="0">
                <a:solidFill>
                  <a:schemeClr val="accent6">
                    <a:lumMod val="50000"/>
                  </a:schemeClr>
                </a:solidFill>
                <a:latin typeface="Segoe UI Black" panose="020B0A02040204020203" pitchFamily="34" charset="0"/>
                <a:ea typeface="Segoe UI Black" panose="020B0A02040204020203" pitchFamily="34" charset="0"/>
              </a:rPr>
              <a:t>High Level Architecture Flow Diagram</a:t>
            </a:r>
          </a:p>
        </p:txBody>
      </p:sp>
      <p:sp>
        <p:nvSpPr>
          <p:cNvPr id="7" name="Rectangle: Rounded Corners 6">
            <a:extLst>
              <a:ext uri="{FF2B5EF4-FFF2-40B4-BE49-F238E27FC236}">
                <a16:creationId xmlns:a16="http://schemas.microsoft.com/office/drawing/2014/main" id="{51B7B586-77D4-4DA1-A273-41EF01622B0A}"/>
              </a:ext>
            </a:extLst>
          </p:cNvPr>
          <p:cNvSpPr/>
          <p:nvPr/>
        </p:nvSpPr>
        <p:spPr>
          <a:xfrm>
            <a:off x="139309" y="2996589"/>
            <a:ext cx="1109723" cy="188567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2">
                  <a:lumMod val="10000"/>
                </a:schemeClr>
              </a:solidFill>
            </a:endParaRPr>
          </a:p>
          <a:p>
            <a:pPr algn="ctr"/>
            <a:r>
              <a:rPr lang="en-US" sz="1000" dirty="0">
                <a:solidFill>
                  <a:schemeClr val="tx2">
                    <a:lumMod val="10000"/>
                  </a:schemeClr>
                </a:solidFill>
              </a:rPr>
              <a:t>Neo N3 Blockchain</a:t>
            </a:r>
          </a:p>
          <a:p>
            <a:pPr algn="ctr"/>
            <a:r>
              <a:rPr lang="en-US" sz="1000" dirty="0">
                <a:solidFill>
                  <a:schemeClr val="tx2">
                    <a:lumMod val="10000"/>
                  </a:schemeClr>
                </a:solidFill>
              </a:rPr>
              <a:t>Dapp</a:t>
            </a:r>
          </a:p>
          <a:p>
            <a:pPr algn="ctr"/>
            <a:endParaRPr lang="en-US" sz="1000" dirty="0">
              <a:solidFill>
                <a:schemeClr val="tx2">
                  <a:lumMod val="10000"/>
                </a:schemeClr>
              </a:solidFill>
            </a:endParaRPr>
          </a:p>
          <a:p>
            <a:pPr marL="171450" indent="-171450">
              <a:buFont typeface="Arial" panose="020B0604020202020204" pitchFamily="34" charset="0"/>
              <a:buChar char="•"/>
            </a:pPr>
            <a:r>
              <a:rPr lang="en-US" sz="800" dirty="0">
                <a:solidFill>
                  <a:schemeClr val="tx2">
                    <a:lumMod val="10000"/>
                  </a:schemeClr>
                </a:solidFill>
              </a:rPr>
              <a:t>Neo N3</a:t>
            </a:r>
          </a:p>
          <a:p>
            <a:pPr marL="171450" indent="-171450">
              <a:buFont typeface="Arial" panose="020B0604020202020204" pitchFamily="34" charset="0"/>
              <a:buChar char="•"/>
            </a:pPr>
            <a:r>
              <a:rPr lang="en-US" sz="800" dirty="0">
                <a:solidFill>
                  <a:schemeClr val="tx2">
                    <a:lumMod val="10000"/>
                  </a:schemeClr>
                </a:solidFill>
              </a:rPr>
              <a:t>Python</a:t>
            </a:r>
          </a:p>
          <a:p>
            <a:pPr marL="171450" indent="-171450">
              <a:buFont typeface="Arial" panose="020B0604020202020204" pitchFamily="34" charset="0"/>
              <a:buChar char="•"/>
            </a:pPr>
            <a:r>
              <a:rPr lang="en-US" sz="800" dirty="0">
                <a:solidFill>
                  <a:schemeClr val="tx2">
                    <a:lumMod val="10000"/>
                  </a:schemeClr>
                </a:solidFill>
              </a:rPr>
              <a:t>Neo boa</a:t>
            </a:r>
          </a:p>
          <a:p>
            <a:pPr marL="171450" indent="-171450">
              <a:buFont typeface="Arial" panose="020B0604020202020204" pitchFamily="34" charset="0"/>
              <a:buChar char="•"/>
            </a:pPr>
            <a:r>
              <a:rPr lang="en-US" sz="800" dirty="0">
                <a:solidFill>
                  <a:schemeClr val="tx2">
                    <a:lumMod val="10000"/>
                  </a:schemeClr>
                </a:solidFill>
              </a:rPr>
              <a:t>Neon.js</a:t>
            </a:r>
          </a:p>
          <a:p>
            <a:pPr marL="171450" indent="-171450">
              <a:buFont typeface="Arial" panose="020B0604020202020204" pitchFamily="34" charset="0"/>
              <a:buChar char="•"/>
            </a:pPr>
            <a:r>
              <a:rPr lang="en-US" sz="800" dirty="0">
                <a:solidFill>
                  <a:schemeClr val="tx2">
                    <a:lumMod val="10000"/>
                  </a:schemeClr>
                </a:solidFill>
              </a:rPr>
              <a:t>Native Contracts (Python)</a:t>
            </a:r>
          </a:p>
          <a:p>
            <a:pPr algn="ctr"/>
            <a:endParaRPr lang="en-US" sz="1000" dirty="0">
              <a:solidFill>
                <a:schemeClr val="tx2">
                  <a:lumMod val="10000"/>
                </a:schemeClr>
              </a:solidFill>
            </a:endParaRPr>
          </a:p>
        </p:txBody>
      </p:sp>
      <p:sp>
        <p:nvSpPr>
          <p:cNvPr id="95" name="Rectangle: Rounded Corners 94">
            <a:extLst>
              <a:ext uri="{FF2B5EF4-FFF2-40B4-BE49-F238E27FC236}">
                <a16:creationId xmlns:a16="http://schemas.microsoft.com/office/drawing/2014/main" id="{352CEC40-FF88-4AC7-AC4F-6CEB0BBECEEB}"/>
              </a:ext>
            </a:extLst>
          </p:cNvPr>
          <p:cNvSpPr/>
          <p:nvPr/>
        </p:nvSpPr>
        <p:spPr>
          <a:xfrm>
            <a:off x="139308" y="5200847"/>
            <a:ext cx="1213241" cy="9144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2">
                  <a:lumMod val="10000"/>
                </a:schemeClr>
              </a:solidFill>
            </a:endParaRPr>
          </a:p>
          <a:p>
            <a:pPr algn="ctr"/>
            <a:endParaRPr lang="en-US" sz="1000" dirty="0">
              <a:solidFill>
                <a:schemeClr val="tx2">
                  <a:lumMod val="10000"/>
                </a:schemeClr>
              </a:solidFill>
            </a:endParaRPr>
          </a:p>
          <a:p>
            <a:pPr algn="ctr"/>
            <a:r>
              <a:rPr lang="en-US" sz="1000" dirty="0">
                <a:solidFill>
                  <a:schemeClr val="tx2">
                    <a:lumMod val="10000"/>
                  </a:schemeClr>
                </a:solidFill>
              </a:rPr>
              <a:t>Frontend App (Read-only data)</a:t>
            </a:r>
          </a:p>
          <a:p>
            <a:pPr algn="ctr"/>
            <a:endParaRPr lang="en-US" sz="1000" dirty="0">
              <a:solidFill>
                <a:schemeClr val="tx2">
                  <a:lumMod val="10000"/>
                </a:schemeClr>
              </a:solidFill>
            </a:endParaRPr>
          </a:p>
          <a:p>
            <a:pPr marL="171450" indent="-171450">
              <a:buFont typeface="Arial" panose="020B0604020202020204" pitchFamily="34" charset="0"/>
              <a:buChar char="•"/>
            </a:pPr>
            <a:r>
              <a:rPr lang="en-US" sz="800" dirty="0">
                <a:solidFill>
                  <a:schemeClr val="tx2">
                    <a:lumMod val="10000"/>
                  </a:schemeClr>
                </a:solidFill>
              </a:rPr>
              <a:t>React.js</a:t>
            </a:r>
          </a:p>
          <a:p>
            <a:pPr marL="171450" indent="-171450">
              <a:buFont typeface="Arial" panose="020B0604020202020204" pitchFamily="34" charset="0"/>
              <a:buChar char="•"/>
            </a:pPr>
            <a:r>
              <a:rPr lang="en-US" sz="800" dirty="0">
                <a:solidFill>
                  <a:schemeClr val="tx2">
                    <a:lumMod val="10000"/>
                  </a:schemeClr>
                </a:solidFill>
              </a:rPr>
              <a:t>Neon.js</a:t>
            </a:r>
          </a:p>
          <a:p>
            <a:pPr marL="171450" indent="-171450">
              <a:buFont typeface="Arial" panose="020B0604020202020204" pitchFamily="34" charset="0"/>
              <a:buChar char="•"/>
            </a:pPr>
            <a:endParaRPr lang="en-US" sz="800" dirty="0">
              <a:solidFill>
                <a:schemeClr val="tx2">
                  <a:lumMod val="10000"/>
                </a:schemeClr>
              </a:solidFill>
            </a:endParaRPr>
          </a:p>
          <a:p>
            <a:pPr algn="ctr"/>
            <a:endParaRPr lang="en-US" sz="1000" dirty="0">
              <a:solidFill>
                <a:schemeClr val="tx2">
                  <a:lumMod val="10000"/>
                </a:schemeClr>
              </a:solidFill>
            </a:endParaRPr>
          </a:p>
        </p:txBody>
      </p:sp>
      <p:sp>
        <p:nvSpPr>
          <p:cNvPr id="96" name="Rectangle: Rounded Corners 95">
            <a:extLst>
              <a:ext uri="{FF2B5EF4-FFF2-40B4-BE49-F238E27FC236}">
                <a16:creationId xmlns:a16="http://schemas.microsoft.com/office/drawing/2014/main" id="{3B404627-7B4D-4353-8619-AA673F794D12}"/>
              </a:ext>
            </a:extLst>
          </p:cNvPr>
          <p:cNvSpPr/>
          <p:nvPr/>
        </p:nvSpPr>
        <p:spPr>
          <a:xfrm>
            <a:off x="139308" y="999477"/>
            <a:ext cx="1121227" cy="1288786"/>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2">
                    <a:lumMod val="10000"/>
                  </a:schemeClr>
                </a:solidFill>
              </a:rPr>
              <a:t>Food Product (Ice-cream) Processing and Distribution</a:t>
            </a:r>
          </a:p>
        </p:txBody>
      </p:sp>
      <p:pic>
        <p:nvPicPr>
          <p:cNvPr id="19" name="Graphic 18" descr="Factory">
            <a:extLst>
              <a:ext uri="{FF2B5EF4-FFF2-40B4-BE49-F238E27FC236}">
                <a16:creationId xmlns:a16="http://schemas.microsoft.com/office/drawing/2014/main" id="{A2348082-F6CD-4B9D-AEE3-AD79FFD950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71550" y="1029792"/>
            <a:ext cx="914400" cy="914400"/>
          </a:xfrm>
          <a:prstGeom prst="rect">
            <a:avLst/>
          </a:prstGeom>
        </p:spPr>
      </p:pic>
      <p:pic>
        <p:nvPicPr>
          <p:cNvPr id="23" name="Graphic 22" descr="Farm scene">
            <a:extLst>
              <a:ext uri="{FF2B5EF4-FFF2-40B4-BE49-F238E27FC236}">
                <a16:creationId xmlns:a16="http://schemas.microsoft.com/office/drawing/2014/main" id="{F91D3058-5CFF-49B2-A8D5-E67465816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30785" y="999477"/>
            <a:ext cx="914400" cy="914400"/>
          </a:xfrm>
          <a:prstGeom prst="rect">
            <a:avLst/>
          </a:prstGeom>
        </p:spPr>
      </p:pic>
      <p:sp>
        <p:nvSpPr>
          <p:cNvPr id="108" name="TextBox 107">
            <a:extLst>
              <a:ext uri="{FF2B5EF4-FFF2-40B4-BE49-F238E27FC236}">
                <a16:creationId xmlns:a16="http://schemas.microsoft.com/office/drawing/2014/main" id="{6428426F-D1F4-47D1-8BA8-781B30407390}"/>
              </a:ext>
            </a:extLst>
          </p:cNvPr>
          <p:cNvSpPr txBox="1"/>
          <p:nvPr/>
        </p:nvSpPr>
        <p:spPr>
          <a:xfrm>
            <a:off x="1340152" y="1933096"/>
            <a:ext cx="1424139"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Raw material sources</a:t>
            </a:r>
          </a:p>
        </p:txBody>
      </p:sp>
      <p:sp>
        <p:nvSpPr>
          <p:cNvPr id="113" name="TextBox 112">
            <a:extLst>
              <a:ext uri="{FF2B5EF4-FFF2-40B4-BE49-F238E27FC236}">
                <a16:creationId xmlns:a16="http://schemas.microsoft.com/office/drawing/2014/main" id="{515B91AD-8CAA-419D-A458-446CFB77E9D2}"/>
              </a:ext>
            </a:extLst>
          </p:cNvPr>
          <p:cNvSpPr txBox="1"/>
          <p:nvPr/>
        </p:nvSpPr>
        <p:spPr>
          <a:xfrm>
            <a:off x="2771550" y="1867104"/>
            <a:ext cx="1424139"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Manufacturing unit</a:t>
            </a:r>
          </a:p>
        </p:txBody>
      </p:sp>
      <p:pic>
        <p:nvPicPr>
          <p:cNvPr id="35" name="Graphic 34" descr="Box">
            <a:extLst>
              <a:ext uri="{FF2B5EF4-FFF2-40B4-BE49-F238E27FC236}">
                <a16:creationId xmlns:a16="http://schemas.microsoft.com/office/drawing/2014/main" id="{E6473A52-8D97-4F13-9DA0-438AC8106F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12316" y="1049637"/>
            <a:ext cx="914400" cy="914400"/>
          </a:xfrm>
          <a:prstGeom prst="rect">
            <a:avLst/>
          </a:prstGeom>
        </p:spPr>
      </p:pic>
      <p:sp>
        <p:nvSpPr>
          <p:cNvPr id="116" name="TextBox 115">
            <a:extLst>
              <a:ext uri="{FF2B5EF4-FFF2-40B4-BE49-F238E27FC236}">
                <a16:creationId xmlns:a16="http://schemas.microsoft.com/office/drawing/2014/main" id="{35703E1E-8E55-4577-BD1F-DD54CB29782C}"/>
              </a:ext>
            </a:extLst>
          </p:cNvPr>
          <p:cNvSpPr txBox="1"/>
          <p:nvPr/>
        </p:nvSpPr>
        <p:spPr>
          <a:xfrm>
            <a:off x="4180332" y="1851625"/>
            <a:ext cx="822005"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Shipping Unit</a:t>
            </a:r>
          </a:p>
        </p:txBody>
      </p:sp>
      <p:pic>
        <p:nvPicPr>
          <p:cNvPr id="3" name="Graphic 2" descr="Truck">
            <a:extLst>
              <a:ext uri="{FF2B5EF4-FFF2-40B4-BE49-F238E27FC236}">
                <a16:creationId xmlns:a16="http://schemas.microsoft.com/office/drawing/2014/main" id="{2630FCAB-F3C6-4D68-B788-B96F5308B9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23389" y="1001697"/>
            <a:ext cx="914400" cy="914400"/>
          </a:xfrm>
          <a:prstGeom prst="rect">
            <a:avLst/>
          </a:prstGeom>
        </p:spPr>
      </p:pic>
      <p:pic>
        <p:nvPicPr>
          <p:cNvPr id="5" name="Graphic 4" descr="Store">
            <a:extLst>
              <a:ext uri="{FF2B5EF4-FFF2-40B4-BE49-F238E27FC236}">
                <a16:creationId xmlns:a16="http://schemas.microsoft.com/office/drawing/2014/main" id="{83BAB11A-C63E-45BB-9AEF-D56FC97A62D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0474" y="1029792"/>
            <a:ext cx="914400" cy="914400"/>
          </a:xfrm>
          <a:prstGeom prst="rect">
            <a:avLst/>
          </a:prstGeom>
        </p:spPr>
      </p:pic>
      <p:sp>
        <p:nvSpPr>
          <p:cNvPr id="10" name="AutoShape 2">
            <a:extLst>
              <a:ext uri="{FF2B5EF4-FFF2-40B4-BE49-F238E27FC236}">
                <a16:creationId xmlns:a16="http://schemas.microsoft.com/office/drawing/2014/main" id="{411EE435-361E-40EF-BDD1-4B7DEF43C51D}"/>
              </a:ext>
            </a:extLst>
          </p:cNvPr>
          <p:cNvSpPr>
            <a:spLocks noChangeAspect="1" noChangeArrowheads="1"/>
          </p:cNvSpPr>
          <p:nvPr/>
        </p:nvSpPr>
        <p:spPr bwMode="auto">
          <a:xfrm>
            <a:off x="5943600" y="31242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2" name="Graphic 21" descr="Internet Of Things with solid fill">
            <a:extLst>
              <a:ext uri="{FF2B5EF4-FFF2-40B4-BE49-F238E27FC236}">
                <a16:creationId xmlns:a16="http://schemas.microsoft.com/office/drawing/2014/main" id="{756A7F98-928C-4B85-B413-2999A812DCD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792688" y="2304019"/>
            <a:ext cx="346253" cy="346253"/>
          </a:xfrm>
          <a:prstGeom prst="rect">
            <a:avLst/>
          </a:prstGeom>
        </p:spPr>
      </p:pic>
      <p:pic>
        <p:nvPicPr>
          <p:cNvPr id="25" name="Graphic 24" descr="Internet Of Things with solid fill">
            <a:extLst>
              <a:ext uri="{FF2B5EF4-FFF2-40B4-BE49-F238E27FC236}">
                <a16:creationId xmlns:a16="http://schemas.microsoft.com/office/drawing/2014/main" id="{846B0A18-07C1-4C8C-ACA6-8C78904EEE5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53279" y="2304019"/>
            <a:ext cx="346253" cy="346253"/>
          </a:xfrm>
          <a:prstGeom prst="rect">
            <a:avLst/>
          </a:prstGeom>
        </p:spPr>
      </p:pic>
      <p:pic>
        <p:nvPicPr>
          <p:cNvPr id="26" name="Graphic 25" descr="Internet Of Things with solid fill">
            <a:extLst>
              <a:ext uri="{FF2B5EF4-FFF2-40B4-BE49-F238E27FC236}">
                <a16:creationId xmlns:a16="http://schemas.microsoft.com/office/drawing/2014/main" id="{EA1CE557-CF57-411B-9B5A-B82817D6622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13870" y="2298554"/>
            <a:ext cx="346253" cy="346253"/>
          </a:xfrm>
          <a:prstGeom prst="rect">
            <a:avLst/>
          </a:prstGeom>
        </p:spPr>
      </p:pic>
      <p:pic>
        <p:nvPicPr>
          <p:cNvPr id="34" name="Graphic 33" descr="Warehouse with solid fill">
            <a:extLst>
              <a:ext uri="{FF2B5EF4-FFF2-40B4-BE49-F238E27FC236}">
                <a16:creationId xmlns:a16="http://schemas.microsoft.com/office/drawing/2014/main" id="{4986EDBF-45FA-4721-9DBD-711574F3285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53159" y="992265"/>
            <a:ext cx="914400" cy="914400"/>
          </a:xfrm>
          <a:prstGeom prst="rect">
            <a:avLst/>
          </a:prstGeom>
        </p:spPr>
      </p:pic>
      <p:sp>
        <p:nvSpPr>
          <p:cNvPr id="36" name="TextBox 35">
            <a:extLst>
              <a:ext uri="{FF2B5EF4-FFF2-40B4-BE49-F238E27FC236}">
                <a16:creationId xmlns:a16="http://schemas.microsoft.com/office/drawing/2014/main" id="{ED50E621-562F-4BA9-9925-842BDA347CC7}"/>
              </a:ext>
            </a:extLst>
          </p:cNvPr>
          <p:cNvSpPr txBox="1"/>
          <p:nvPr/>
        </p:nvSpPr>
        <p:spPr>
          <a:xfrm>
            <a:off x="5523389" y="1927033"/>
            <a:ext cx="1424139"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Transportation</a:t>
            </a:r>
          </a:p>
        </p:txBody>
      </p:sp>
      <p:sp>
        <p:nvSpPr>
          <p:cNvPr id="37" name="TextBox 36">
            <a:extLst>
              <a:ext uri="{FF2B5EF4-FFF2-40B4-BE49-F238E27FC236}">
                <a16:creationId xmlns:a16="http://schemas.microsoft.com/office/drawing/2014/main" id="{48BAE86C-8395-49A3-84A1-F6083853B480}"/>
              </a:ext>
            </a:extLst>
          </p:cNvPr>
          <p:cNvSpPr txBox="1"/>
          <p:nvPr/>
        </p:nvSpPr>
        <p:spPr>
          <a:xfrm>
            <a:off x="7086463" y="1931169"/>
            <a:ext cx="1424139"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Warehouse</a:t>
            </a:r>
          </a:p>
        </p:txBody>
      </p:sp>
      <p:sp>
        <p:nvSpPr>
          <p:cNvPr id="38" name="TextBox 37">
            <a:extLst>
              <a:ext uri="{FF2B5EF4-FFF2-40B4-BE49-F238E27FC236}">
                <a16:creationId xmlns:a16="http://schemas.microsoft.com/office/drawing/2014/main" id="{F066E425-9C4C-4C21-BBAB-AAAFEDEE589C}"/>
              </a:ext>
            </a:extLst>
          </p:cNvPr>
          <p:cNvSpPr txBox="1"/>
          <p:nvPr/>
        </p:nvSpPr>
        <p:spPr>
          <a:xfrm>
            <a:off x="9776260" y="1933096"/>
            <a:ext cx="1424139"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Retail Shop</a:t>
            </a:r>
          </a:p>
        </p:txBody>
      </p:sp>
      <p:pic>
        <p:nvPicPr>
          <p:cNvPr id="39" name="Graphic 38" descr="Truck">
            <a:extLst>
              <a:ext uri="{FF2B5EF4-FFF2-40B4-BE49-F238E27FC236}">
                <a16:creationId xmlns:a16="http://schemas.microsoft.com/office/drawing/2014/main" id="{A624F2EB-B9EF-458A-9BBA-0D1A32D3AB4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64853" y="1001697"/>
            <a:ext cx="914400" cy="914400"/>
          </a:xfrm>
          <a:prstGeom prst="rect">
            <a:avLst/>
          </a:prstGeom>
        </p:spPr>
      </p:pic>
      <p:sp>
        <p:nvSpPr>
          <p:cNvPr id="40" name="TextBox 39">
            <a:extLst>
              <a:ext uri="{FF2B5EF4-FFF2-40B4-BE49-F238E27FC236}">
                <a16:creationId xmlns:a16="http://schemas.microsoft.com/office/drawing/2014/main" id="{59570267-CAF8-4660-834D-76C15FC157BC}"/>
              </a:ext>
            </a:extLst>
          </p:cNvPr>
          <p:cNvSpPr txBox="1"/>
          <p:nvPr/>
        </p:nvSpPr>
        <p:spPr>
          <a:xfrm>
            <a:off x="8271313" y="1896415"/>
            <a:ext cx="1424139"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Transportation</a:t>
            </a:r>
          </a:p>
        </p:txBody>
      </p:sp>
      <p:sp>
        <p:nvSpPr>
          <p:cNvPr id="42" name="TextBox 41">
            <a:extLst>
              <a:ext uri="{FF2B5EF4-FFF2-40B4-BE49-F238E27FC236}">
                <a16:creationId xmlns:a16="http://schemas.microsoft.com/office/drawing/2014/main" id="{D6618482-F08C-4B1D-AEFE-E4B3AEEF99D6}"/>
              </a:ext>
            </a:extLst>
          </p:cNvPr>
          <p:cNvSpPr txBox="1"/>
          <p:nvPr/>
        </p:nvSpPr>
        <p:spPr>
          <a:xfrm>
            <a:off x="11086306" y="1916522"/>
            <a:ext cx="1424139"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Consumers</a:t>
            </a:r>
          </a:p>
        </p:txBody>
      </p:sp>
      <p:graphicFrame>
        <p:nvGraphicFramePr>
          <p:cNvPr id="43" name="TextBox 13">
            <a:extLst>
              <a:ext uri="{FF2B5EF4-FFF2-40B4-BE49-F238E27FC236}">
                <a16:creationId xmlns:a16="http://schemas.microsoft.com/office/drawing/2014/main" id="{D25C5111-B460-4192-9B09-362942E8E6F8}"/>
              </a:ext>
            </a:extLst>
          </p:cNvPr>
          <p:cNvGraphicFramePr/>
          <p:nvPr>
            <p:extLst>
              <p:ext uri="{D42A27DB-BD31-4B8C-83A1-F6EECF244321}">
                <p14:modId xmlns:p14="http://schemas.microsoft.com/office/powerpoint/2010/main" val="4117159988"/>
              </p:ext>
            </p:extLst>
          </p:nvPr>
        </p:nvGraphicFramePr>
        <p:xfrm>
          <a:off x="1340152" y="2978482"/>
          <a:ext cx="9425405" cy="190378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44" name="Graphic 43" descr="Children with solid fill">
            <a:extLst>
              <a:ext uri="{FF2B5EF4-FFF2-40B4-BE49-F238E27FC236}">
                <a16:creationId xmlns:a16="http://schemas.microsoft.com/office/drawing/2014/main" id="{DD5551C8-5151-4173-AA8E-7BDBF64A2A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934613" y="1023968"/>
            <a:ext cx="914400" cy="914400"/>
          </a:xfrm>
          <a:prstGeom prst="rect">
            <a:avLst/>
          </a:prstGeom>
        </p:spPr>
      </p:pic>
      <p:pic>
        <p:nvPicPr>
          <p:cNvPr id="45" name="Graphic 44" descr="Store">
            <a:extLst>
              <a:ext uri="{FF2B5EF4-FFF2-40B4-BE49-F238E27FC236}">
                <a16:creationId xmlns:a16="http://schemas.microsoft.com/office/drawing/2014/main" id="{65FC81B1-73B8-459A-843A-38CE6BC9D09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76260" y="1029792"/>
            <a:ext cx="914400" cy="914400"/>
          </a:xfrm>
          <a:prstGeom prst="rect">
            <a:avLst/>
          </a:prstGeom>
        </p:spPr>
      </p:pic>
      <p:cxnSp>
        <p:nvCxnSpPr>
          <p:cNvPr id="27" name="Straight Arrow Connector 26">
            <a:extLst>
              <a:ext uri="{FF2B5EF4-FFF2-40B4-BE49-F238E27FC236}">
                <a16:creationId xmlns:a16="http://schemas.microsoft.com/office/drawing/2014/main" id="{F4FA8F10-F4D4-4D57-8711-4F5CDFB7215D}"/>
              </a:ext>
            </a:extLst>
          </p:cNvPr>
          <p:cNvCxnSpPr>
            <a:cxnSpLocks/>
            <a:stCxn id="22" idx="2"/>
          </p:cNvCxnSpPr>
          <p:nvPr/>
        </p:nvCxnSpPr>
        <p:spPr>
          <a:xfrm flipH="1">
            <a:off x="2955988" y="2650272"/>
            <a:ext cx="9827" cy="679972"/>
          </a:xfrm>
          <a:prstGeom prst="straightConnector1">
            <a:avLst/>
          </a:prstGeom>
          <a:ln w="28575">
            <a:solidFill>
              <a:srgbClr val="996633"/>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539855E-0042-4397-9BF9-39E6EB6986AE}"/>
              </a:ext>
            </a:extLst>
          </p:cNvPr>
          <p:cNvCxnSpPr>
            <a:cxnSpLocks/>
            <a:stCxn id="25" idx="2"/>
          </p:cNvCxnSpPr>
          <p:nvPr/>
        </p:nvCxnSpPr>
        <p:spPr>
          <a:xfrm>
            <a:off x="3326406" y="2650272"/>
            <a:ext cx="0" cy="679972"/>
          </a:xfrm>
          <a:prstGeom prst="straightConnector1">
            <a:avLst/>
          </a:prstGeom>
          <a:ln w="28575">
            <a:solidFill>
              <a:srgbClr val="996633"/>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2BE0AD6E-340F-4591-94FE-885A0BA6A82D}"/>
              </a:ext>
            </a:extLst>
          </p:cNvPr>
          <p:cNvCxnSpPr>
            <a:cxnSpLocks/>
          </p:cNvCxnSpPr>
          <p:nvPr/>
        </p:nvCxnSpPr>
        <p:spPr>
          <a:xfrm>
            <a:off x="3591977" y="2606922"/>
            <a:ext cx="0" cy="723322"/>
          </a:xfrm>
          <a:prstGeom prst="straightConnector1">
            <a:avLst/>
          </a:prstGeom>
          <a:ln w="28575">
            <a:solidFill>
              <a:srgbClr val="99663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BB4EA636-0E71-42C1-A381-5B3911CB8E84}"/>
              </a:ext>
            </a:extLst>
          </p:cNvPr>
          <p:cNvSpPr txBox="1"/>
          <p:nvPr/>
        </p:nvSpPr>
        <p:spPr>
          <a:xfrm>
            <a:off x="3591978" y="2773238"/>
            <a:ext cx="644916" cy="223352"/>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IoT Data</a:t>
            </a:r>
          </a:p>
        </p:txBody>
      </p:sp>
      <p:cxnSp>
        <p:nvCxnSpPr>
          <p:cNvPr id="56" name="Straight Arrow Connector 55">
            <a:extLst>
              <a:ext uri="{FF2B5EF4-FFF2-40B4-BE49-F238E27FC236}">
                <a16:creationId xmlns:a16="http://schemas.microsoft.com/office/drawing/2014/main" id="{DC58903D-61AC-4D87-947C-A631B04B1C08}"/>
              </a:ext>
            </a:extLst>
          </p:cNvPr>
          <p:cNvCxnSpPr>
            <a:cxnSpLocks/>
          </p:cNvCxnSpPr>
          <p:nvPr/>
        </p:nvCxnSpPr>
        <p:spPr>
          <a:xfrm flipH="1">
            <a:off x="1933595" y="2148540"/>
            <a:ext cx="12785" cy="1181704"/>
          </a:xfrm>
          <a:prstGeom prst="straightConnector1">
            <a:avLst/>
          </a:prstGeom>
          <a:ln w="28575">
            <a:solidFill>
              <a:srgbClr val="92D05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DC7ECCFD-24AF-472C-8BBE-44530F076391}"/>
              </a:ext>
            </a:extLst>
          </p:cNvPr>
          <p:cNvCxnSpPr>
            <a:cxnSpLocks/>
          </p:cNvCxnSpPr>
          <p:nvPr/>
        </p:nvCxnSpPr>
        <p:spPr>
          <a:xfrm>
            <a:off x="4596198" y="2123088"/>
            <a:ext cx="3753" cy="1207156"/>
          </a:xfrm>
          <a:prstGeom prst="straightConnector1">
            <a:avLst/>
          </a:prstGeom>
          <a:ln w="28575">
            <a:solidFill>
              <a:srgbClr val="00B0F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E9CBF3D6-095F-45EE-BC0E-FF1FE6FF42B4}"/>
              </a:ext>
            </a:extLst>
          </p:cNvPr>
          <p:cNvCxnSpPr>
            <a:cxnSpLocks/>
          </p:cNvCxnSpPr>
          <p:nvPr/>
        </p:nvCxnSpPr>
        <p:spPr>
          <a:xfrm>
            <a:off x="5978712" y="2131966"/>
            <a:ext cx="7111" cy="1198278"/>
          </a:xfrm>
          <a:prstGeom prst="straightConnector1">
            <a:avLst/>
          </a:prstGeom>
          <a:ln w="28575">
            <a:solidFill>
              <a:srgbClr val="FF99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AB712CA6-6FDB-435C-A9C8-66CE62858C7E}"/>
              </a:ext>
            </a:extLst>
          </p:cNvPr>
          <p:cNvCxnSpPr>
            <a:cxnSpLocks/>
          </p:cNvCxnSpPr>
          <p:nvPr/>
        </p:nvCxnSpPr>
        <p:spPr>
          <a:xfrm>
            <a:off x="7442324" y="2141958"/>
            <a:ext cx="3753" cy="1188286"/>
          </a:xfrm>
          <a:prstGeom prst="straightConnector1">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7D0AFF68-9A3A-43A2-883C-B20CD32DBE8E}"/>
              </a:ext>
            </a:extLst>
          </p:cNvPr>
          <p:cNvCxnSpPr>
            <a:cxnSpLocks/>
          </p:cNvCxnSpPr>
          <p:nvPr/>
        </p:nvCxnSpPr>
        <p:spPr>
          <a:xfrm>
            <a:off x="8779136" y="2131966"/>
            <a:ext cx="3753" cy="1198278"/>
          </a:xfrm>
          <a:prstGeom prst="straightConnector1">
            <a:avLst/>
          </a:prstGeom>
          <a:ln w="28575">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01E7C64-0D88-4D79-A286-8CF3B604BA77}"/>
              </a:ext>
            </a:extLst>
          </p:cNvPr>
          <p:cNvCxnSpPr>
            <a:cxnSpLocks/>
          </p:cNvCxnSpPr>
          <p:nvPr/>
        </p:nvCxnSpPr>
        <p:spPr>
          <a:xfrm flipH="1">
            <a:off x="10115948" y="2166283"/>
            <a:ext cx="1477" cy="1163961"/>
          </a:xfrm>
          <a:prstGeom prst="straightConnector1">
            <a:avLst/>
          </a:prstGeom>
          <a:ln w="28575">
            <a:solidFill>
              <a:srgbClr val="CC66FF"/>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445593C0-94F2-4B05-BB00-54435E6A87C8}"/>
              </a:ext>
            </a:extLst>
          </p:cNvPr>
          <p:cNvSpPr txBox="1"/>
          <p:nvPr/>
        </p:nvSpPr>
        <p:spPr>
          <a:xfrm>
            <a:off x="3514573" y="1986352"/>
            <a:ext cx="785201"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IoT Devices</a:t>
            </a:r>
          </a:p>
        </p:txBody>
      </p:sp>
      <p:pic>
        <p:nvPicPr>
          <p:cNvPr id="51" name="Graphic 50" descr="Internet">
            <a:extLst>
              <a:ext uri="{FF2B5EF4-FFF2-40B4-BE49-F238E27FC236}">
                <a16:creationId xmlns:a16="http://schemas.microsoft.com/office/drawing/2014/main" id="{3EE23D89-B7AE-4497-B5B8-8BECF1B9900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525265" y="5665901"/>
            <a:ext cx="914400" cy="914400"/>
          </a:xfrm>
          <a:prstGeom prst="rect">
            <a:avLst/>
          </a:prstGeom>
        </p:spPr>
      </p:pic>
      <p:pic>
        <p:nvPicPr>
          <p:cNvPr id="70" name="Graphic 69" descr="User">
            <a:extLst>
              <a:ext uri="{FF2B5EF4-FFF2-40B4-BE49-F238E27FC236}">
                <a16:creationId xmlns:a16="http://schemas.microsoft.com/office/drawing/2014/main" id="{0C9E2A7E-B9FD-4F50-AA42-322A78DE9C8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912820" y="6039417"/>
            <a:ext cx="491217" cy="491217"/>
          </a:xfrm>
          <a:prstGeom prst="rect">
            <a:avLst/>
          </a:prstGeom>
        </p:spPr>
      </p:pic>
      <p:cxnSp>
        <p:nvCxnSpPr>
          <p:cNvPr id="81" name="Straight Arrow Connector 80">
            <a:extLst>
              <a:ext uri="{FF2B5EF4-FFF2-40B4-BE49-F238E27FC236}">
                <a16:creationId xmlns:a16="http://schemas.microsoft.com/office/drawing/2014/main" id="{927B0F8E-D4D6-4E9F-8EFE-8A6C1A77BDAB}"/>
              </a:ext>
            </a:extLst>
          </p:cNvPr>
          <p:cNvCxnSpPr>
            <a:cxnSpLocks/>
          </p:cNvCxnSpPr>
          <p:nvPr/>
        </p:nvCxnSpPr>
        <p:spPr>
          <a:xfrm>
            <a:off x="2102533" y="4615602"/>
            <a:ext cx="0" cy="870798"/>
          </a:xfrm>
          <a:prstGeom prst="straightConnector1">
            <a:avLst/>
          </a:prstGeom>
          <a:ln w="28575">
            <a:solidFill>
              <a:srgbClr val="92D05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6253A5C0-AF4A-4146-87A7-AB469E2EB523}"/>
              </a:ext>
            </a:extLst>
          </p:cNvPr>
          <p:cNvCxnSpPr>
            <a:cxnSpLocks/>
          </p:cNvCxnSpPr>
          <p:nvPr/>
        </p:nvCxnSpPr>
        <p:spPr>
          <a:xfrm>
            <a:off x="4752351" y="4590150"/>
            <a:ext cx="0" cy="870798"/>
          </a:xfrm>
          <a:prstGeom prst="straightConnector1">
            <a:avLst/>
          </a:prstGeom>
          <a:ln w="28575">
            <a:solidFill>
              <a:srgbClr val="00B0F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C79B2E17-EC84-49F1-A1EF-3E6473F544B5}"/>
              </a:ext>
            </a:extLst>
          </p:cNvPr>
          <p:cNvCxnSpPr>
            <a:cxnSpLocks/>
          </p:cNvCxnSpPr>
          <p:nvPr/>
        </p:nvCxnSpPr>
        <p:spPr>
          <a:xfrm flipH="1">
            <a:off x="6112255" y="4590150"/>
            <a:ext cx="6355" cy="896250"/>
          </a:xfrm>
          <a:prstGeom prst="straightConnector1">
            <a:avLst/>
          </a:prstGeom>
          <a:ln w="28575">
            <a:solidFill>
              <a:srgbClr val="FF990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F4A514BB-E6D5-4768-BA06-04E346ADA781}"/>
              </a:ext>
            </a:extLst>
          </p:cNvPr>
          <p:cNvCxnSpPr>
            <a:cxnSpLocks/>
          </p:cNvCxnSpPr>
          <p:nvPr/>
        </p:nvCxnSpPr>
        <p:spPr>
          <a:xfrm>
            <a:off x="7591071" y="4590150"/>
            <a:ext cx="7406" cy="870798"/>
          </a:xfrm>
          <a:prstGeom prst="straightConnector1">
            <a:avLst/>
          </a:prstGeom>
          <a:ln w="28575">
            <a:solidFill>
              <a:schemeClr val="accent4">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9B763DB5-3014-42DB-A573-D88E3EE7E50F}"/>
              </a:ext>
            </a:extLst>
          </p:cNvPr>
          <p:cNvCxnSpPr>
            <a:cxnSpLocks/>
          </p:cNvCxnSpPr>
          <p:nvPr/>
        </p:nvCxnSpPr>
        <p:spPr>
          <a:xfrm>
            <a:off x="8935288" y="4580158"/>
            <a:ext cx="6355" cy="906242"/>
          </a:xfrm>
          <a:prstGeom prst="straightConnector1">
            <a:avLst/>
          </a:prstGeom>
          <a:ln w="28575">
            <a:solidFill>
              <a:srgbClr val="FFC00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53647131-E322-45ED-8A5B-01FA888F29E1}"/>
              </a:ext>
            </a:extLst>
          </p:cNvPr>
          <p:cNvCxnSpPr>
            <a:cxnSpLocks/>
          </p:cNvCxnSpPr>
          <p:nvPr/>
        </p:nvCxnSpPr>
        <p:spPr>
          <a:xfrm>
            <a:off x="10273578" y="4580158"/>
            <a:ext cx="0" cy="906242"/>
          </a:xfrm>
          <a:prstGeom prst="straightConnector1">
            <a:avLst/>
          </a:prstGeom>
          <a:ln w="28575">
            <a:solidFill>
              <a:srgbClr val="CC66FF"/>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F836345-1052-46BF-AA3D-6DCC2F8E80E0}"/>
              </a:ext>
            </a:extLst>
          </p:cNvPr>
          <p:cNvCxnSpPr>
            <a:cxnSpLocks/>
          </p:cNvCxnSpPr>
          <p:nvPr/>
        </p:nvCxnSpPr>
        <p:spPr>
          <a:xfrm flipV="1">
            <a:off x="1340152" y="5486400"/>
            <a:ext cx="10712540" cy="32764"/>
          </a:xfrm>
          <a:prstGeom prst="lin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57BBBAFF-FB04-4613-A1F3-6DD7B4C35310}"/>
              </a:ext>
            </a:extLst>
          </p:cNvPr>
          <p:cNvSpPr txBox="1"/>
          <p:nvPr/>
        </p:nvSpPr>
        <p:spPr>
          <a:xfrm>
            <a:off x="1927940" y="2748109"/>
            <a:ext cx="1142082" cy="461665"/>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Create a block for Raw Material Resources</a:t>
            </a:r>
          </a:p>
        </p:txBody>
      </p:sp>
      <p:sp>
        <p:nvSpPr>
          <p:cNvPr id="98" name="TextBox 97">
            <a:extLst>
              <a:ext uri="{FF2B5EF4-FFF2-40B4-BE49-F238E27FC236}">
                <a16:creationId xmlns:a16="http://schemas.microsoft.com/office/drawing/2014/main" id="{8726F642-C1C1-414B-AA9A-FE3FBD6F7A64}"/>
              </a:ext>
            </a:extLst>
          </p:cNvPr>
          <p:cNvSpPr txBox="1"/>
          <p:nvPr/>
        </p:nvSpPr>
        <p:spPr>
          <a:xfrm>
            <a:off x="4575836" y="2774974"/>
            <a:ext cx="1142082" cy="33855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Create a block for Shipping Unit</a:t>
            </a:r>
          </a:p>
        </p:txBody>
      </p:sp>
      <p:sp>
        <p:nvSpPr>
          <p:cNvPr id="99" name="TextBox 98">
            <a:extLst>
              <a:ext uri="{FF2B5EF4-FFF2-40B4-BE49-F238E27FC236}">
                <a16:creationId xmlns:a16="http://schemas.microsoft.com/office/drawing/2014/main" id="{87222078-8946-4645-8CB3-8C60CAC45CE3}"/>
              </a:ext>
            </a:extLst>
          </p:cNvPr>
          <p:cNvSpPr txBox="1"/>
          <p:nvPr/>
        </p:nvSpPr>
        <p:spPr>
          <a:xfrm>
            <a:off x="5974171" y="2792830"/>
            <a:ext cx="1142082" cy="33855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Create a block for transportation</a:t>
            </a:r>
          </a:p>
        </p:txBody>
      </p:sp>
      <p:sp>
        <p:nvSpPr>
          <p:cNvPr id="100" name="TextBox 99">
            <a:extLst>
              <a:ext uri="{FF2B5EF4-FFF2-40B4-BE49-F238E27FC236}">
                <a16:creationId xmlns:a16="http://schemas.microsoft.com/office/drawing/2014/main" id="{2EE88DBD-AE35-4DB7-B1A7-DBA7713F21B7}"/>
              </a:ext>
            </a:extLst>
          </p:cNvPr>
          <p:cNvSpPr txBox="1"/>
          <p:nvPr/>
        </p:nvSpPr>
        <p:spPr>
          <a:xfrm>
            <a:off x="7431487" y="2799260"/>
            <a:ext cx="1142082" cy="33855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Create a block for warehouse entry</a:t>
            </a:r>
          </a:p>
        </p:txBody>
      </p:sp>
      <p:sp>
        <p:nvSpPr>
          <p:cNvPr id="101" name="TextBox 100">
            <a:extLst>
              <a:ext uri="{FF2B5EF4-FFF2-40B4-BE49-F238E27FC236}">
                <a16:creationId xmlns:a16="http://schemas.microsoft.com/office/drawing/2014/main" id="{D81C5375-9BAB-4ADD-9825-32D14BC54514}"/>
              </a:ext>
            </a:extLst>
          </p:cNvPr>
          <p:cNvSpPr txBox="1"/>
          <p:nvPr/>
        </p:nvSpPr>
        <p:spPr>
          <a:xfrm>
            <a:off x="8746979" y="2809664"/>
            <a:ext cx="1142082" cy="33855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Create a block for transportation</a:t>
            </a:r>
          </a:p>
        </p:txBody>
      </p:sp>
      <p:sp>
        <p:nvSpPr>
          <p:cNvPr id="102" name="TextBox 101">
            <a:extLst>
              <a:ext uri="{FF2B5EF4-FFF2-40B4-BE49-F238E27FC236}">
                <a16:creationId xmlns:a16="http://schemas.microsoft.com/office/drawing/2014/main" id="{7F40FD78-779B-4ADE-85EC-B13762478758}"/>
              </a:ext>
            </a:extLst>
          </p:cNvPr>
          <p:cNvSpPr txBox="1"/>
          <p:nvPr/>
        </p:nvSpPr>
        <p:spPr>
          <a:xfrm>
            <a:off x="10128863" y="2646270"/>
            <a:ext cx="1142082" cy="584775"/>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Create a block for packet received information in retail store</a:t>
            </a:r>
          </a:p>
        </p:txBody>
      </p:sp>
      <p:cxnSp>
        <p:nvCxnSpPr>
          <p:cNvPr id="103" name="Straight Arrow Connector 102">
            <a:extLst>
              <a:ext uri="{FF2B5EF4-FFF2-40B4-BE49-F238E27FC236}">
                <a16:creationId xmlns:a16="http://schemas.microsoft.com/office/drawing/2014/main" id="{A4B4BD84-4C45-4703-AE87-A158513EB0F7}"/>
              </a:ext>
            </a:extLst>
          </p:cNvPr>
          <p:cNvCxnSpPr>
            <a:cxnSpLocks/>
          </p:cNvCxnSpPr>
          <p:nvPr/>
        </p:nvCxnSpPr>
        <p:spPr>
          <a:xfrm>
            <a:off x="3368873" y="4590150"/>
            <a:ext cx="7406" cy="870798"/>
          </a:xfrm>
          <a:prstGeom prst="straightConnector1">
            <a:avLst/>
          </a:prstGeom>
          <a:ln w="28575">
            <a:solidFill>
              <a:srgbClr val="99663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6BE7089E-16DC-4652-AE05-C4A517914D78}"/>
              </a:ext>
            </a:extLst>
          </p:cNvPr>
          <p:cNvSpPr txBox="1"/>
          <p:nvPr/>
        </p:nvSpPr>
        <p:spPr>
          <a:xfrm>
            <a:off x="1802477" y="5572479"/>
            <a:ext cx="3227359" cy="33855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Application to Read product histories data at any stage of decentralized  Blockchain system using Batch Number</a:t>
            </a:r>
          </a:p>
        </p:txBody>
      </p:sp>
      <p:sp>
        <p:nvSpPr>
          <p:cNvPr id="105" name="TextBox 104">
            <a:extLst>
              <a:ext uri="{FF2B5EF4-FFF2-40B4-BE49-F238E27FC236}">
                <a16:creationId xmlns:a16="http://schemas.microsoft.com/office/drawing/2014/main" id="{386EFA98-3092-48F7-B0B3-A8FC4CF85C13}"/>
              </a:ext>
            </a:extLst>
          </p:cNvPr>
          <p:cNvSpPr txBox="1"/>
          <p:nvPr/>
        </p:nvSpPr>
        <p:spPr>
          <a:xfrm>
            <a:off x="7199537" y="5523205"/>
            <a:ext cx="4649476" cy="1200329"/>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Key Features:</a:t>
            </a:r>
          </a:p>
          <a:p>
            <a:pPr marL="228600" indent="-228600">
              <a:buFont typeface="+mj-lt"/>
              <a:buAutoNum type="arabicPeriod"/>
            </a:pPr>
            <a:r>
              <a:rPr lang="en-US" sz="800" dirty="0">
                <a:latin typeface="Segoe UI" panose="020B0502040204020203" pitchFamily="34" charset="0"/>
                <a:cs typeface="Segoe UI" panose="020B0502040204020203" pitchFamily="34" charset="0"/>
              </a:rPr>
              <a:t>Provide complete transparency of Food product processing from raw material procurement to final delivery to end consumer.</a:t>
            </a:r>
          </a:p>
          <a:p>
            <a:pPr marL="228600" indent="-228600">
              <a:buFont typeface="+mj-lt"/>
              <a:buAutoNum type="arabicPeriod"/>
            </a:pPr>
            <a:r>
              <a:rPr lang="en-US" sz="800" dirty="0">
                <a:latin typeface="Segoe UI" panose="020B0502040204020203" pitchFamily="34" charset="0"/>
                <a:cs typeface="Segoe UI" panose="020B0502040204020203" pitchFamily="34" charset="0"/>
              </a:rPr>
              <a:t>Defining the Quality ownership and accountability of  various stack holders of the  product at every stage.</a:t>
            </a:r>
          </a:p>
          <a:p>
            <a:pPr marL="228600" indent="-228600">
              <a:buFont typeface="+mj-lt"/>
              <a:buAutoNum type="arabicPeriod"/>
            </a:pPr>
            <a:r>
              <a:rPr lang="en-US" sz="800" dirty="0">
                <a:latin typeface="Segoe UI" panose="020B0502040204020203" pitchFamily="34" charset="0"/>
                <a:cs typeface="Segoe UI" panose="020B0502040204020203" pitchFamily="34" charset="0"/>
              </a:rPr>
              <a:t>Provide complete traceability of product. </a:t>
            </a:r>
          </a:p>
          <a:p>
            <a:pPr marL="228600" indent="-228600">
              <a:buFont typeface="+mj-lt"/>
              <a:buAutoNum type="arabicPeriod"/>
            </a:pPr>
            <a:r>
              <a:rPr lang="en-US" sz="800" dirty="0">
                <a:latin typeface="Segoe UI" panose="020B0502040204020203" pitchFamily="34" charset="0"/>
                <a:cs typeface="Segoe UI" panose="020B0502040204020203" pitchFamily="34" charset="0"/>
              </a:rPr>
              <a:t>In blockchain based distributed eco system each participants can have separate app to interact and create a new block.</a:t>
            </a:r>
          </a:p>
          <a:p>
            <a:pPr marL="228600" indent="-228600">
              <a:buFont typeface="+mj-lt"/>
              <a:buAutoNum type="arabicPeriod"/>
            </a:pPr>
            <a:r>
              <a:rPr lang="en-US" sz="800" dirty="0">
                <a:latin typeface="Segoe UI" panose="020B0502040204020203" pitchFamily="34" charset="0"/>
                <a:cs typeface="Segoe UI" panose="020B0502040204020203" pitchFamily="34" charset="0"/>
              </a:rPr>
              <a:t>In case of Quality check failure measured by any IoT devices, further blocks cannot be created.</a:t>
            </a:r>
          </a:p>
        </p:txBody>
      </p:sp>
      <p:sp>
        <p:nvSpPr>
          <p:cNvPr id="106" name="Title 12">
            <a:extLst>
              <a:ext uri="{FF2B5EF4-FFF2-40B4-BE49-F238E27FC236}">
                <a16:creationId xmlns:a16="http://schemas.microsoft.com/office/drawing/2014/main" id="{346BFB48-27D9-47F9-9BCB-5DFF19C7BF00}"/>
              </a:ext>
            </a:extLst>
          </p:cNvPr>
          <p:cNvSpPr txBox="1">
            <a:spLocks/>
          </p:cNvSpPr>
          <p:nvPr/>
        </p:nvSpPr>
        <p:spPr>
          <a:xfrm>
            <a:off x="186788" y="561372"/>
            <a:ext cx="8921672" cy="457990"/>
          </a:xfrm>
          <a:prstGeom prst="rect">
            <a:avLst/>
          </a:prstGeom>
        </p:spPr>
        <p:txBody>
          <a:bodyPr vert="horz" lIns="0" tIns="0" rIns="0" bIns="0" rtlCol="0" anchor="t" anchorCtr="0">
            <a:noAutofit/>
          </a:bodyPr>
          <a:lst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a:lstStyle>
          <a:p>
            <a:r>
              <a:rPr lang="en-US" sz="1800" dirty="0">
                <a:solidFill>
                  <a:schemeClr val="accent6">
                    <a:lumMod val="75000"/>
                  </a:schemeClr>
                </a:solidFill>
                <a:latin typeface="Segoe UI Black" panose="020B0A02040204020203" pitchFamily="34" charset="0"/>
                <a:ea typeface="Segoe UI Black" panose="020B0A02040204020203" pitchFamily="34" charset="0"/>
              </a:rPr>
              <a:t>Food product- Ice-Cream  traceability &amp; transparency with blockchain </a:t>
            </a:r>
          </a:p>
        </p:txBody>
      </p:sp>
      <p:sp>
        <p:nvSpPr>
          <p:cNvPr id="107" name="TextBox 106">
            <a:extLst>
              <a:ext uri="{FF2B5EF4-FFF2-40B4-BE49-F238E27FC236}">
                <a16:creationId xmlns:a16="http://schemas.microsoft.com/office/drawing/2014/main" id="{58B48EA1-A66B-4200-B6D5-02E150DA7C9F}"/>
              </a:ext>
            </a:extLst>
          </p:cNvPr>
          <p:cNvSpPr txBox="1"/>
          <p:nvPr/>
        </p:nvSpPr>
        <p:spPr>
          <a:xfrm>
            <a:off x="4360745" y="6385803"/>
            <a:ext cx="706314"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Consumers</a:t>
            </a:r>
          </a:p>
        </p:txBody>
      </p:sp>
      <p:sp>
        <p:nvSpPr>
          <p:cNvPr id="110" name="TextBox 109">
            <a:extLst>
              <a:ext uri="{FF2B5EF4-FFF2-40B4-BE49-F238E27FC236}">
                <a16:creationId xmlns:a16="http://schemas.microsoft.com/office/drawing/2014/main" id="{E28EC75C-A0E3-4D89-8923-3D45BC3F6B69}"/>
              </a:ext>
            </a:extLst>
          </p:cNvPr>
          <p:cNvSpPr txBox="1"/>
          <p:nvPr/>
        </p:nvSpPr>
        <p:spPr>
          <a:xfrm>
            <a:off x="3828020" y="2240847"/>
            <a:ext cx="733535" cy="461665"/>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Different </a:t>
            </a:r>
          </a:p>
          <a:p>
            <a:r>
              <a:rPr lang="en-US" sz="800" dirty="0">
                <a:latin typeface="Segoe UI" panose="020B0502040204020203" pitchFamily="34" charset="0"/>
                <a:cs typeface="Segoe UI" panose="020B0502040204020203" pitchFamily="34" charset="0"/>
              </a:rPr>
              <a:t>Quality</a:t>
            </a:r>
          </a:p>
          <a:p>
            <a:r>
              <a:rPr lang="en-US" sz="800" dirty="0">
                <a:latin typeface="Segoe UI" panose="020B0502040204020203" pitchFamily="34" charset="0"/>
                <a:cs typeface="Segoe UI" panose="020B0502040204020203" pitchFamily="34" charset="0"/>
              </a:rPr>
              <a:t>Checkpoint</a:t>
            </a:r>
          </a:p>
        </p:txBody>
      </p:sp>
      <p:sp>
        <p:nvSpPr>
          <p:cNvPr id="117" name="TextBox 116">
            <a:extLst>
              <a:ext uri="{FF2B5EF4-FFF2-40B4-BE49-F238E27FC236}">
                <a16:creationId xmlns:a16="http://schemas.microsoft.com/office/drawing/2014/main" id="{252345CB-E88B-4CA3-B57B-86E4B7A77D74}"/>
              </a:ext>
            </a:extLst>
          </p:cNvPr>
          <p:cNvSpPr txBox="1"/>
          <p:nvPr/>
        </p:nvSpPr>
        <p:spPr>
          <a:xfrm>
            <a:off x="2646498" y="2127662"/>
            <a:ext cx="563258"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Stage 1</a:t>
            </a:r>
          </a:p>
        </p:txBody>
      </p:sp>
      <p:sp>
        <p:nvSpPr>
          <p:cNvPr id="118" name="TextBox 117">
            <a:extLst>
              <a:ext uri="{FF2B5EF4-FFF2-40B4-BE49-F238E27FC236}">
                <a16:creationId xmlns:a16="http://schemas.microsoft.com/office/drawing/2014/main" id="{0C38E7A3-97AC-4330-B67D-066CA50B770A}"/>
              </a:ext>
            </a:extLst>
          </p:cNvPr>
          <p:cNvSpPr txBox="1"/>
          <p:nvPr/>
        </p:nvSpPr>
        <p:spPr>
          <a:xfrm>
            <a:off x="3065598" y="2118229"/>
            <a:ext cx="563258"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Stage 2</a:t>
            </a:r>
          </a:p>
        </p:txBody>
      </p:sp>
      <p:sp>
        <p:nvSpPr>
          <p:cNvPr id="119" name="TextBox 118">
            <a:extLst>
              <a:ext uri="{FF2B5EF4-FFF2-40B4-BE49-F238E27FC236}">
                <a16:creationId xmlns:a16="http://schemas.microsoft.com/office/drawing/2014/main" id="{1ECF63FB-CB71-4AB8-B95A-0EADF3FB8AF5}"/>
              </a:ext>
            </a:extLst>
          </p:cNvPr>
          <p:cNvSpPr txBox="1"/>
          <p:nvPr/>
        </p:nvSpPr>
        <p:spPr>
          <a:xfrm>
            <a:off x="3475951" y="2127662"/>
            <a:ext cx="563258"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Stage 3</a:t>
            </a:r>
          </a:p>
        </p:txBody>
      </p:sp>
      <p:cxnSp>
        <p:nvCxnSpPr>
          <p:cNvPr id="124" name="Straight Arrow Connector 123">
            <a:extLst>
              <a:ext uri="{FF2B5EF4-FFF2-40B4-BE49-F238E27FC236}">
                <a16:creationId xmlns:a16="http://schemas.microsoft.com/office/drawing/2014/main" id="{C7B1F380-DCBD-4E8F-AFB8-EBBD85BB0EF5}"/>
              </a:ext>
            </a:extLst>
          </p:cNvPr>
          <p:cNvCxnSpPr>
            <a:stCxn id="45" idx="3"/>
          </p:cNvCxnSpPr>
          <p:nvPr/>
        </p:nvCxnSpPr>
        <p:spPr>
          <a:xfrm flipV="1">
            <a:off x="10690660" y="1352550"/>
            <a:ext cx="243953" cy="134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CB653B91-D323-4C0E-9E18-DDC2E2CCBCCE}"/>
              </a:ext>
            </a:extLst>
          </p:cNvPr>
          <p:cNvCxnSpPr>
            <a:stCxn id="45" idx="3"/>
          </p:cNvCxnSpPr>
          <p:nvPr/>
        </p:nvCxnSpPr>
        <p:spPr>
          <a:xfrm>
            <a:off x="10690660" y="1486992"/>
            <a:ext cx="243953" cy="1275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AF01D1C8-6431-4E6F-8B0D-E6C07E71694F}"/>
              </a:ext>
            </a:extLst>
          </p:cNvPr>
          <p:cNvCxnSpPr>
            <a:stCxn id="45" idx="3"/>
          </p:cNvCxnSpPr>
          <p:nvPr/>
        </p:nvCxnSpPr>
        <p:spPr>
          <a:xfrm>
            <a:off x="10690660" y="1486992"/>
            <a:ext cx="148790" cy="322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5C729002-8ED5-4CA7-A429-C7642E6F24AC}"/>
              </a:ext>
            </a:extLst>
          </p:cNvPr>
          <p:cNvSpPr txBox="1"/>
          <p:nvPr/>
        </p:nvSpPr>
        <p:spPr>
          <a:xfrm rot="16200000">
            <a:off x="1882066" y="4891787"/>
            <a:ext cx="717767"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Read Only</a:t>
            </a:r>
          </a:p>
        </p:txBody>
      </p:sp>
      <p:sp>
        <p:nvSpPr>
          <p:cNvPr id="137" name="TextBox 136">
            <a:extLst>
              <a:ext uri="{FF2B5EF4-FFF2-40B4-BE49-F238E27FC236}">
                <a16:creationId xmlns:a16="http://schemas.microsoft.com/office/drawing/2014/main" id="{172316DF-3C77-494F-B4B7-48D0C9E9119B}"/>
              </a:ext>
            </a:extLst>
          </p:cNvPr>
          <p:cNvSpPr txBox="1"/>
          <p:nvPr/>
        </p:nvSpPr>
        <p:spPr>
          <a:xfrm rot="16200000">
            <a:off x="3164379" y="4922062"/>
            <a:ext cx="717767"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Read Only</a:t>
            </a:r>
          </a:p>
        </p:txBody>
      </p:sp>
      <p:sp>
        <p:nvSpPr>
          <p:cNvPr id="138" name="TextBox 137">
            <a:extLst>
              <a:ext uri="{FF2B5EF4-FFF2-40B4-BE49-F238E27FC236}">
                <a16:creationId xmlns:a16="http://schemas.microsoft.com/office/drawing/2014/main" id="{AA2E4682-37BF-4975-BA7F-971155AF4B10}"/>
              </a:ext>
            </a:extLst>
          </p:cNvPr>
          <p:cNvSpPr txBox="1"/>
          <p:nvPr/>
        </p:nvSpPr>
        <p:spPr>
          <a:xfrm rot="16200000">
            <a:off x="4531736" y="4891178"/>
            <a:ext cx="717767"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Read Only</a:t>
            </a:r>
          </a:p>
        </p:txBody>
      </p:sp>
      <p:sp>
        <p:nvSpPr>
          <p:cNvPr id="139" name="TextBox 138">
            <a:extLst>
              <a:ext uri="{FF2B5EF4-FFF2-40B4-BE49-F238E27FC236}">
                <a16:creationId xmlns:a16="http://schemas.microsoft.com/office/drawing/2014/main" id="{CAD4E853-6C0E-487A-9FC0-B8345FC06331}"/>
              </a:ext>
            </a:extLst>
          </p:cNvPr>
          <p:cNvSpPr txBox="1"/>
          <p:nvPr/>
        </p:nvSpPr>
        <p:spPr>
          <a:xfrm rot="16200000">
            <a:off x="5900356" y="4900977"/>
            <a:ext cx="717767"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Read Only</a:t>
            </a:r>
          </a:p>
        </p:txBody>
      </p:sp>
      <p:sp>
        <p:nvSpPr>
          <p:cNvPr id="140" name="TextBox 139">
            <a:extLst>
              <a:ext uri="{FF2B5EF4-FFF2-40B4-BE49-F238E27FC236}">
                <a16:creationId xmlns:a16="http://schemas.microsoft.com/office/drawing/2014/main" id="{A9D9F720-261F-4B5F-BDB6-A379E3670E5D}"/>
              </a:ext>
            </a:extLst>
          </p:cNvPr>
          <p:cNvSpPr txBox="1"/>
          <p:nvPr/>
        </p:nvSpPr>
        <p:spPr>
          <a:xfrm rot="16200000">
            <a:off x="7375435" y="4920703"/>
            <a:ext cx="717767"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Read Only</a:t>
            </a:r>
          </a:p>
        </p:txBody>
      </p:sp>
      <p:sp>
        <p:nvSpPr>
          <p:cNvPr id="141" name="TextBox 140">
            <a:extLst>
              <a:ext uri="{FF2B5EF4-FFF2-40B4-BE49-F238E27FC236}">
                <a16:creationId xmlns:a16="http://schemas.microsoft.com/office/drawing/2014/main" id="{D1316656-88D4-4AB8-B6E1-7100C607C56A}"/>
              </a:ext>
            </a:extLst>
          </p:cNvPr>
          <p:cNvSpPr txBox="1"/>
          <p:nvPr/>
        </p:nvSpPr>
        <p:spPr>
          <a:xfrm rot="16200000">
            <a:off x="8721027" y="4917827"/>
            <a:ext cx="717767"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Read Only</a:t>
            </a:r>
          </a:p>
        </p:txBody>
      </p:sp>
      <p:sp>
        <p:nvSpPr>
          <p:cNvPr id="142" name="TextBox 141">
            <a:extLst>
              <a:ext uri="{FF2B5EF4-FFF2-40B4-BE49-F238E27FC236}">
                <a16:creationId xmlns:a16="http://schemas.microsoft.com/office/drawing/2014/main" id="{B19FDE31-AB65-484B-A4F0-F95FBB396783}"/>
              </a:ext>
            </a:extLst>
          </p:cNvPr>
          <p:cNvSpPr txBox="1"/>
          <p:nvPr/>
        </p:nvSpPr>
        <p:spPr>
          <a:xfrm rot="16200000">
            <a:off x="10070926" y="4900978"/>
            <a:ext cx="717767"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Read Only</a:t>
            </a:r>
          </a:p>
        </p:txBody>
      </p:sp>
      <p:pic>
        <p:nvPicPr>
          <p:cNvPr id="4" name="Graphic 3" descr="Smart Phone">
            <a:extLst>
              <a:ext uri="{FF2B5EF4-FFF2-40B4-BE49-F238E27FC236}">
                <a16:creationId xmlns:a16="http://schemas.microsoft.com/office/drawing/2014/main" id="{43B10750-136A-4631-9595-0B0724A8926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5379272" y="5999608"/>
            <a:ext cx="606551" cy="606551"/>
          </a:xfrm>
          <a:prstGeom prst="rect">
            <a:avLst/>
          </a:prstGeom>
        </p:spPr>
      </p:pic>
      <p:cxnSp>
        <p:nvCxnSpPr>
          <p:cNvPr id="76" name="Straight Arrow Connector 75">
            <a:extLst>
              <a:ext uri="{FF2B5EF4-FFF2-40B4-BE49-F238E27FC236}">
                <a16:creationId xmlns:a16="http://schemas.microsoft.com/office/drawing/2014/main" id="{D971C985-3F18-4FE4-8BDB-0A86EBCF93D9}"/>
              </a:ext>
            </a:extLst>
          </p:cNvPr>
          <p:cNvCxnSpPr>
            <a:cxnSpLocks/>
          </p:cNvCxnSpPr>
          <p:nvPr/>
        </p:nvCxnSpPr>
        <p:spPr>
          <a:xfrm>
            <a:off x="5857875" y="5514307"/>
            <a:ext cx="238125" cy="340775"/>
          </a:xfrm>
          <a:prstGeom prst="straightConnector1">
            <a:avLst/>
          </a:prstGeom>
          <a:ln w="28575">
            <a:solidFill>
              <a:srgbClr val="11111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pic>
        <p:nvPicPr>
          <p:cNvPr id="79" name="Graphic 78" descr="User">
            <a:extLst>
              <a:ext uri="{FF2B5EF4-FFF2-40B4-BE49-F238E27FC236}">
                <a16:creationId xmlns:a16="http://schemas.microsoft.com/office/drawing/2014/main" id="{E5262004-4F92-47EA-A054-497DF15A125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65220" y="6191817"/>
            <a:ext cx="491217" cy="491217"/>
          </a:xfrm>
          <a:prstGeom prst="rect">
            <a:avLst/>
          </a:prstGeom>
        </p:spPr>
      </p:pic>
      <p:sp>
        <p:nvSpPr>
          <p:cNvPr id="88" name="TextBox 87">
            <a:extLst>
              <a:ext uri="{FF2B5EF4-FFF2-40B4-BE49-F238E27FC236}">
                <a16:creationId xmlns:a16="http://schemas.microsoft.com/office/drawing/2014/main" id="{7787419C-12BA-4D62-93C3-679F22A08BDC}"/>
              </a:ext>
            </a:extLst>
          </p:cNvPr>
          <p:cNvSpPr txBox="1"/>
          <p:nvPr/>
        </p:nvSpPr>
        <p:spPr>
          <a:xfrm>
            <a:off x="3711866" y="1221406"/>
            <a:ext cx="742755"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App</a:t>
            </a:r>
          </a:p>
        </p:txBody>
      </p:sp>
      <p:sp>
        <p:nvSpPr>
          <p:cNvPr id="89" name="TextBox 88">
            <a:extLst>
              <a:ext uri="{FF2B5EF4-FFF2-40B4-BE49-F238E27FC236}">
                <a16:creationId xmlns:a16="http://schemas.microsoft.com/office/drawing/2014/main" id="{0ABEEA2D-8741-43ED-8912-E687C040C243}"/>
              </a:ext>
            </a:extLst>
          </p:cNvPr>
          <p:cNvSpPr txBox="1"/>
          <p:nvPr/>
        </p:nvSpPr>
        <p:spPr>
          <a:xfrm>
            <a:off x="2224741" y="1230089"/>
            <a:ext cx="742755"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App</a:t>
            </a:r>
          </a:p>
        </p:txBody>
      </p:sp>
      <p:sp>
        <p:nvSpPr>
          <p:cNvPr id="91" name="TextBox 90">
            <a:extLst>
              <a:ext uri="{FF2B5EF4-FFF2-40B4-BE49-F238E27FC236}">
                <a16:creationId xmlns:a16="http://schemas.microsoft.com/office/drawing/2014/main" id="{12B19EE9-6426-459F-B983-1EE2559B273D}"/>
              </a:ext>
            </a:extLst>
          </p:cNvPr>
          <p:cNvSpPr txBox="1"/>
          <p:nvPr/>
        </p:nvSpPr>
        <p:spPr>
          <a:xfrm>
            <a:off x="6257734" y="1202705"/>
            <a:ext cx="742755"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IoT</a:t>
            </a:r>
          </a:p>
        </p:txBody>
      </p:sp>
      <p:sp>
        <p:nvSpPr>
          <p:cNvPr id="94" name="TextBox 93">
            <a:extLst>
              <a:ext uri="{FF2B5EF4-FFF2-40B4-BE49-F238E27FC236}">
                <a16:creationId xmlns:a16="http://schemas.microsoft.com/office/drawing/2014/main" id="{6FE7EDAD-DE44-4A1E-A8F3-3181C92E0270}"/>
              </a:ext>
            </a:extLst>
          </p:cNvPr>
          <p:cNvSpPr txBox="1"/>
          <p:nvPr/>
        </p:nvSpPr>
        <p:spPr>
          <a:xfrm>
            <a:off x="7742209" y="1200858"/>
            <a:ext cx="742755"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App</a:t>
            </a:r>
          </a:p>
        </p:txBody>
      </p:sp>
      <p:sp>
        <p:nvSpPr>
          <p:cNvPr id="111" name="TextBox 110">
            <a:extLst>
              <a:ext uri="{FF2B5EF4-FFF2-40B4-BE49-F238E27FC236}">
                <a16:creationId xmlns:a16="http://schemas.microsoft.com/office/drawing/2014/main" id="{3F76DF4A-3283-439F-9A17-57D9DF7DB911}"/>
              </a:ext>
            </a:extLst>
          </p:cNvPr>
          <p:cNvSpPr txBox="1"/>
          <p:nvPr/>
        </p:nvSpPr>
        <p:spPr>
          <a:xfrm>
            <a:off x="9073661" y="1238752"/>
            <a:ext cx="742755"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IoT</a:t>
            </a:r>
          </a:p>
        </p:txBody>
      </p:sp>
      <p:pic>
        <p:nvPicPr>
          <p:cNvPr id="16" name="Picture 15">
            <a:extLst>
              <a:ext uri="{FF2B5EF4-FFF2-40B4-BE49-F238E27FC236}">
                <a16:creationId xmlns:a16="http://schemas.microsoft.com/office/drawing/2014/main" id="{4B55E1A4-3D86-48D5-B07E-487673FA043D}"/>
              </a:ext>
            </a:extLst>
          </p:cNvPr>
          <p:cNvPicPr>
            <a:picLocks noChangeAspect="1"/>
          </p:cNvPicPr>
          <p:nvPr/>
        </p:nvPicPr>
        <p:blipFill>
          <a:blip r:embed="rId31"/>
          <a:stretch>
            <a:fillRect/>
          </a:stretch>
        </p:blipFill>
        <p:spPr>
          <a:xfrm>
            <a:off x="39640" y="3276600"/>
            <a:ext cx="251470" cy="261054"/>
          </a:xfrm>
          <a:prstGeom prst="rect">
            <a:avLst/>
          </a:prstGeom>
        </p:spPr>
      </p:pic>
      <p:pic>
        <p:nvPicPr>
          <p:cNvPr id="17" name="Picture 16">
            <a:extLst>
              <a:ext uri="{FF2B5EF4-FFF2-40B4-BE49-F238E27FC236}">
                <a16:creationId xmlns:a16="http://schemas.microsoft.com/office/drawing/2014/main" id="{CBE5CB22-189E-4B63-9EF5-DFA032AF1239}"/>
              </a:ext>
            </a:extLst>
          </p:cNvPr>
          <p:cNvPicPr>
            <a:picLocks noChangeAspect="1"/>
          </p:cNvPicPr>
          <p:nvPr/>
        </p:nvPicPr>
        <p:blipFill>
          <a:blip r:embed="rId32"/>
          <a:stretch>
            <a:fillRect/>
          </a:stretch>
        </p:blipFill>
        <p:spPr>
          <a:xfrm>
            <a:off x="98508" y="2901394"/>
            <a:ext cx="1202094" cy="280187"/>
          </a:xfrm>
          <a:prstGeom prst="rect">
            <a:avLst/>
          </a:prstGeom>
        </p:spPr>
      </p:pic>
      <p:pic>
        <p:nvPicPr>
          <p:cNvPr id="18" name="Picture 17">
            <a:extLst>
              <a:ext uri="{FF2B5EF4-FFF2-40B4-BE49-F238E27FC236}">
                <a16:creationId xmlns:a16="http://schemas.microsoft.com/office/drawing/2014/main" id="{6BCB1D3E-ED33-4C99-B451-C6BDC3478A2E}"/>
              </a:ext>
            </a:extLst>
          </p:cNvPr>
          <p:cNvPicPr>
            <a:picLocks noChangeAspect="1"/>
          </p:cNvPicPr>
          <p:nvPr/>
        </p:nvPicPr>
        <p:blipFill>
          <a:blip r:embed="rId33"/>
          <a:stretch>
            <a:fillRect/>
          </a:stretch>
        </p:blipFill>
        <p:spPr>
          <a:xfrm>
            <a:off x="65300" y="4679919"/>
            <a:ext cx="486895" cy="202346"/>
          </a:xfrm>
          <a:prstGeom prst="rect">
            <a:avLst/>
          </a:prstGeom>
        </p:spPr>
      </p:pic>
      <p:pic>
        <p:nvPicPr>
          <p:cNvPr id="20" name="Picture 19">
            <a:extLst>
              <a:ext uri="{FF2B5EF4-FFF2-40B4-BE49-F238E27FC236}">
                <a16:creationId xmlns:a16="http://schemas.microsoft.com/office/drawing/2014/main" id="{9705DE4A-26C5-496A-ABBE-2302CBAD1FBC}"/>
              </a:ext>
            </a:extLst>
          </p:cNvPr>
          <p:cNvPicPr>
            <a:picLocks noChangeAspect="1"/>
          </p:cNvPicPr>
          <p:nvPr/>
        </p:nvPicPr>
        <p:blipFill>
          <a:blip r:embed="rId34"/>
          <a:stretch>
            <a:fillRect/>
          </a:stretch>
        </p:blipFill>
        <p:spPr>
          <a:xfrm>
            <a:off x="0" y="3693970"/>
            <a:ext cx="270082" cy="261054"/>
          </a:xfrm>
          <a:prstGeom prst="rect">
            <a:avLst/>
          </a:prstGeom>
        </p:spPr>
      </p:pic>
      <p:pic>
        <p:nvPicPr>
          <p:cNvPr id="123" name="Graphic 122" descr="Internet Of Things with solid fill">
            <a:extLst>
              <a:ext uri="{FF2B5EF4-FFF2-40B4-BE49-F238E27FC236}">
                <a16:creationId xmlns:a16="http://schemas.microsoft.com/office/drawing/2014/main" id="{771F7D2E-5C17-4CD6-B80D-7A7008B5354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227625" y="875048"/>
            <a:ext cx="358468" cy="358468"/>
          </a:xfrm>
          <a:prstGeom prst="rect">
            <a:avLst/>
          </a:prstGeom>
        </p:spPr>
      </p:pic>
      <p:pic>
        <p:nvPicPr>
          <p:cNvPr id="125" name="Graphic 124" descr="Internet Of Things with solid fill">
            <a:extLst>
              <a:ext uri="{FF2B5EF4-FFF2-40B4-BE49-F238E27FC236}">
                <a16:creationId xmlns:a16="http://schemas.microsoft.com/office/drawing/2014/main" id="{70361DC9-9933-47F7-87C8-357371EA75F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037556" y="887740"/>
            <a:ext cx="371637" cy="371637"/>
          </a:xfrm>
          <a:prstGeom prst="rect">
            <a:avLst/>
          </a:prstGeom>
        </p:spPr>
      </p:pic>
      <p:pic>
        <p:nvPicPr>
          <p:cNvPr id="28" name="Picture 27">
            <a:extLst>
              <a:ext uri="{FF2B5EF4-FFF2-40B4-BE49-F238E27FC236}">
                <a16:creationId xmlns:a16="http://schemas.microsoft.com/office/drawing/2014/main" id="{EAF33213-76FE-47F3-9F80-3C5C775F2496}"/>
              </a:ext>
            </a:extLst>
          </p:cNvPr>
          <p:cNvPicPr>
            <a:picLocks noChangeAspect="1"/>
          </p:cNvPicPr>
          <p:nvPr/>
        </p:nvPicPr>
        <p:blipFill>
          <a:blip r:embed="rId35"/>
          <a:stretch>
            <a:fillRect/>
          </a:stretch>
        </p:blipFill>
        <p:spPr>
          <a:xfrm>
            <a:off x="3742279" y="852488"/>
            <a:ext cx="375512" cy="340371"/>
          </a:xfrm>
          <a:prstGeom prst="rect">
            <a:avLst/>
          </a:prstGeom>
        </p:spPr>
      </p:pic>
      <p:pic>
        <p:nvPicPr>
          <p:cNvPr id="127" name="Picture 126">
            <a:extLst>
              <a:ext uri="{FF2B5EF4-FFF2-40B4-BE49-F238E27FC236}">
                <a16:creationId xmlns:a16="http://schemas.microsoft.com/office/drawing/2014/main" id="{60D14D24-46D9-4C02-908E-CB14F35D6AE2}"/>
              </a:ext>
            </a:extLst>
          </p:cNvPr>
          <p:cNvPicPr>
            <a:picLocks noChangeAspect="1"/>
          </p:cNvPicPr>
          <p:nvPr/>
        </p:nvPicPr>
        <p:blipFill>
          <a:blip r:embed="rId35"/>
          <a:stretch>
            <a:fillRect/>
          </a:stretch>
        </p:blipFill>
        <p:spPr>
          <a:xfrm>
            <a:off x="2226631" y="881954"/>
            <a:ext cx="359633" cy="325977"/>
          </a:xfrm>
          <a:prstGeom prst="rect">
            <a:avLst/>
          </a:prstGeom>
        </p:spPr>
      </p:pic>
      <p:pic>
        <p:nvPicPr>
          <p:cNvPr id="129" name="Picture 128">
            <a:extLst>
              <a:ext uri="{FF2B5EF4-FFF2-40B4-BE49-F238E27FC236}">
                <a16:creationId xmlns:a16="http://schemas.microsoft.com/office/drawing/2014/main" id="{D1934F39-F7FF-40D1-BE5F-EB59B93853C0}"/>
              </a:ext>
            </a:extLst>
          </p:cNvPr>
          <p:cNvPicPr>
            <a:picLocks noChangeAspect="1"/>
          </p:cNvPicPr>
          <p:nvPr/>
        </p:nvPicPr>
        <p:blipFill>
          <a:blip r:embed="rId35"/>
          <a:stretch>
            <a:fillRect/>
          </a:stretch>
        </p:blipFill>
        <p:spPr>
          <a:xfrm>
            <a:off x="7747561" y="862968"/>
            <a:ext cx="363951" cy="329891"/>
          </a:xfrm>
          <a:prstGeom prst="rect">
            <a:avLst/>
          </a:prstGeom>
        </p:spPr>
      </p:pic>
      <p:pic>
        <p:nvPicPr>
          <p:cNvPr id="130" name="Picture 129">
            <a:extLst>
              <a:ext uri="{FF2B5EF4-FFF2-40B4-BE49-F238E27FC236}">
                <a16:creationId xmlns:a16="http://schemas.microsoft.com/office/drawing/2014/main" id="{1AB01979-1740-4D63-BF1C-B2B5BF83EFAC}"/>
              </a:ext>
            </a:extLst>
          </p:cNvPr>
          <p:cNvPicPr>
            <a:picLocks noChangeAspect="1"/>
          </p:cNvPicPr>
          <p:nvPr/>
        </p:nvPicPr>
        <p:blipFill>
          <a:blip r:embed="rId35"/>
          <a:stretch>
            <a:fillRect/>
          </a:stretch>
        </p:blipFill>
        <p:spPr>
          <a:xfrm>
            <a:off x="10549228" y="835443"/>
            <a:ext cx="329056" cy="298262"/>
          </a:xfrm>
          <a:prstGeom prst="rect">
            <a:avLst/>
          </a:prstGeom>
        </p:spPr>
      </p:pic>
      <p:sp>
        <p:nvSpPr>
          <p:cNvPr id="131" name="TextBox 130">
            <a:extLst>
              <a:ext uri="{FF2B5EF4-FFF2-40B4-BE49-F238E27FC236}">
                <a16:creationId xmlns:a16="http://schemas.microsoft.com/office/drawing/2014/main" id="{E1B8DCEE-4B75-4955-B95F-C77F6E7BE362}"/>
              </a:ext>
            </a:extLst>
          </p:cNvPr>
          <p:cNvSpPr txBox="1"/>
          <p:nvPr/>
        </p:nvSpPr>
        <p:spPr>
          <a:xfrm>
            <a:off x="10537532" y="1133705"/>
            <a:ext cx="742755" cy="215444"/>
          </a:xfrm>
          <a:prstGeom prst="rect">
            <a:avLst/>
          </a:prstGeom>
          <a:noFill/>
        </p:spPr>
        <p:txBody>
          <a:bodyPr wrap="square" rtlCol="0">
            <a:spAutoFit/>
          </a:bodyPr>
          <a:lstStyle/>
          <a:p>
            <a:r>
              <a:rPr lang="en-US" sz="800" dirty="0">
                <a:latin typeface="Segoe UI" panose="020B0502040204020203" pitchFamily="34" charset="0"/>
                <a:cs typeface="Segoe UI" panose="020B0502040204020203" pitchFamily="34" charset="0"/>
              </a:rPr>
              <a:t>App</a:t>
            </a:r>
          </a:p>
        </p:txBody>
      </p:sp>
      <p:pic>
        <p:nvPicPr>
          <p:cNvPr id="132" name="Picture 131">
            <a:extLst>
              <a:ext uri="{FF2B5EF4-FFF2-40B4-BE49-F238E27FC236}">
                <a16:creationId xmlns:a16="http://schemas.microsoft.com/office/drawing/2014/main" id="{D6B6084F-C577-4FD7-9625-D5AA43EEE349}"/>
              </a:ext>
            </a:extLst>
          </p:cNvPr>
          <p:cNvPicPr>
            <a:picLocks noChangeAspect="1"/>
          </p:cNvPicPr>
          <p:nvPr/>
        </p:nvPicPr>
        <p:blipFill>
          <a:blip r:embed="rId35"/>
          <a:stretch>
            <a:fillRect/>
          </a:stretch>
        </p:blipFill>
        <p:spPr>
          <a:xfrm>
            <a:off x="38629" y="5431415"/>
            <a:ext cx="304358" cy="275875"/>
          </a:xfrm>
          <a:prstGeom prst="rect">
            <a:avLst/>
          </a:prstGeom>
        </p:spPr>
      </p:pic>
      <p:cxnSp>
        <p:nvCxnSpPr>
          <p:cNvPr id="133" name="Straight Arrow Connector 132">
            <a:extLst>
              <a:ext uri="{FF2B5EF4-FFF2-40B4-BE49-F238E27FC236}">
                <a16:creationId xmlns:a16="http://schemas.microsoft.com/office/drawing/2014/main" id="{E3E26374-AD4E-4790-91B6-E0B2F22C7957}"/>
              </a:ext>
            </a:extLst>
          </p:cNvPr>
          <p:cNvCxnSpPr>
            <a:cxnSpLocks/>
          </p:cNvCxnSpPr>
          <p:nvPr/>
        </p:nvCxnSpPr>
        <p:spPr>
          <a:xfrm flipV="1">
            <a:off x="11465675" y="2148540"/>
            <a:ext cx="0" cy="3347051"/>
          </a:xfrm>
          <a:prstGeom prst="straightConnector1">
            <a:avLst/>
          </a:prstGeom>
          <a:ln w="28575">
            <a:solidFill>
              <a:schemeClr val="accent1">
                <a:lumMod val="40000"/>
                <a:lumOff val="6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134" name="Graphic 133" descr="Internet">
            <a:extLst>
              <a:ext uri="{FF2B5EF4-FFF2-40B4-BE49-F238E27FC236}">
                <a16:creationId xmlns:a16="http://schemas.microsoft.com/office/drawing/2014/main" id="{A03C673A-1736-4273-8EFF-7E0E7D9D42D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1574610" y="2276754"/>
            <a:ext cx="575610" cy="575610"/>
          </a:xfrm>
          <a:prstGeom prst="rect">
            <a:avLst/>
          </a:prstGeom>
        </p:spPr>
      </p:pic>
      <p:pic>
        <p:nvPicPr>
          <p:cNvPr id="135" name="Graphic 134" descr="Smart Phone">
            <a:extLst>
              <a:ext uri="{FF2B5EF4-FFF2-40B4-BE49-F238E27FC236}">
                <a16:creationId xmlns:a16="http://schemas.microsoft.com/office/drawing/2014/main" id="{4B9E226B-1AD1-41E9-B4BF-25515D16770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1428617" y="2610461"/>
            <a:ext cx="381821" cy="381821"/>
          </a:xfrm>
          <a:prstGeom prst="rect">
            <a:avLst/>
          </a:prstGeom>
        </p:spPr>
      </p:pic>
    </p:spTree>
    <p:extLst>
      <p:ext uri="{BB962C8B-B14F-4D97-AF65-F5344CB8AC3E}">
        <p14:creationId xmlns:p14="http://schemas.microsoft.com/office/powerpoint/2010/main" val="20515920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3E15-EAF9-1C4B-AE0A-F65E503DCBD1}"/>
              </a:ext>
            </a:extLst>
          </p:cNvPr>
          <p:cNvSpPr>
            <a:spLocks noGrp="1"/>
          </p:cNvSpPr>
          <p:nvPr>
            <p:ph type="ctrTitle"/>
          </p:nvPr>
        </p:nvSpPr>
        <p:spPr>
          <a:xfrm>
            <a:off x="626231" y="1884225"/>
            <a:ext cx="5774569" cy="2880000"/>
          </a:xfrm>
        </p:spPr>
        <p:txBody>
          <a:bodyPr/>
          <a:lstStyle/>
          <a:p>
            <a:r>
              <a:rPr lang="en-US" dirty="0"/>
              <a:t>Live Demo	</a:t>
            </a:r>
            <a:endParaRPr lang="en-US" sz="2000" dirty="0"/>
          </a:p>
        </p:txBody>
      </p:sp>
      <p:sp>
        <p:nvSpPr>
          <p:cNvPr id="4" name="Slide Number Placeholder 3">
            <a:extLst>
              <a:ext uri="{FF2B5EF4-FFF2-40B4-BE49-F238E27FC236}">
                <a16:creationId xmlns:a16="http://schemas.microsoft.com/office/drawing/2014/main" id="{6E0C5A93-9F76-C34F-94D8-F0E2C6172736}"/>
              </a:ext>
            </a:extLst>
          </p:cNvPr>
          <p:cNvSpPr>
            <a:spLocks noGrp="1"/>
          </p:cNvSpPr>
          <p:nvPr>
            <p:ph type="sldNum" sz="quarter" idx="10"/>
          </p:nvPr>
        </p:nvSpPr>
        <p:spPr/>
        <p:txBody>
          <a:bodyPr/>
          <a:lstStyle/>
          <a:p>
            <a:fld id="{58B792A5-9BAE-6942-BFE1-9FCDB51EA51E}" type="slidenum">
              <a:rPr lang="en-US" smtClean="0"/>
              <a:pPr/>
              <a:t>6</a:t>
            </a:fld>
            <a:endParaRPr lang="en-US" dirty="0"/>
          </a:p>
        </p:txBody>
      </p:sp>
      <p:pic>
        <p:nvPicPr>
          <p:cNvPr id="5" name="Picture 4" descr="Logo&#10;&#10;Description automatically generated">
            <a:extLst>
              <a:ext uri="{FF2B5EF4-FFF2-40B4-BE49-F238E27FC236}">
                <a16:creationId xmlns:a16="http://schemas.microsoft.com/office/drawing/2014/main" id="{C81BFA13-5BF0-41C2-AF5E-0AA862B244AA}"/>
              </a:ext>
            </a:extLst>
          </p:cNvPr>
          <p:cNvPicPr>
            <a:picLocks noChangeAspect="1"/>
          </p:cNvPicPr>
          <p:nvPr/>
        </p:nvPicPr>
        <p:blipFill>
          <a:blip r:embed="rId2"/>
          <a:stretch>
            <a:fillRect/>
          </a:stretch>
        </p:blipFill>
        <p:spPr>
          <a:xfrm>
            <a:off x="7824788" y="1214437"/>
            <a:ext cx="3900488" cy="3900488"/>
          </a:xfrm>
          <a:prstGeom prst="rect">
            <a:avLst/>
          </a:prstGeom>
        </p:spPr>
      </p:pic>
      <p:sp>
        <p:nvSpPr>
          <p:cNvPr id="8" name="Subtitle 2">
            <a:extLst>
              <a:ext uri="{FF2B5EF4-FFF2-40B4-BE49-F238E27FC236}">
                <a16:creationId xmlns:a16="http://schemas.microsoft.com/office/drawing/2014/main" id="{AA469BE6-0DFD-46F4-BC02-E0226BA4D235}"/>
              </a:ext>
            </a:extLst>
          </p:cNvPr>
          <p:cNvSpPr txBox="1">
            <a:spLocks/>
          </p:cNvSpPr>
          <p:nvPr/>
        </p:nvSpPr>
        <p:spPr>
          <a:xfrm>
            <a:off x="626231" y="696738"/>
            <a:ext cx="7020000" cy="155448"/>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1000"/>
              </a:spcBef>
              <a:buFontTx/>
              <a:buNone/>
              <a:defRPr sz="1000" b="0" i="0" kern="1200" spc="200" baseline="0">
                <a:solidFill>
                  <a:schemeClr val="tx1"/>
                </a:solidFill>
                <a:latin typeface="FUTURANEXT-MEDIUM" panose="020B0602020204020303" pitchFamily="34" charset="77"/>
                <a:ea typeface="+mn-ea"/>
                <a:cs typeface="+mn-cs"/>
              </a:defRPr>
            </a:lvl1pPr>
            <a:lvl2pPr marL="457200" indent="0" algn="ctr" defTabSz="914400" rtl="0" eaLnBrk="1" latinLnBrk="0" hangingPunct="1">
              <a:lnSpc>
                <a:spcPts val="2200"/>
              </a:lnSpc>
              <a:spcBef>
                <a:spcPts val="500"/>
              </a:spcBef>
              <a:buFont typeface="Arial" panose="020B0604020202020204" pitchFamily="34" charset="0"/>
              <a:buNone/>
              <a:tabLst/>
              <a:defRPr sz="2000" b="0" i="0" kern="1200">
                <a:solidFill>
                  <a:schemeClr val="tx1"/>
                </a:solidFill>
                <a:latin typeface="Futura Next Book" panose="020B0502020204020303" pitchFamily="34" charset="77"/>
                <a:ea typeface="+mn-ea"/>
                <a:cs typeface="+mn-cs"/>
              </a:defRPr>
            </a:lvl2pPr>
            <a:lvl3pPr marL="914400" indent="0" algn="ctr" defTabSz="914400" rtl="0" eaLnBrk="1" latinLnBrk="0" hangingPunct="1">
              <a:lnSpc>
                <a:spcPts val="2200"/>
              </a:lnSpc>
              <a:spcBef>
                <a:spcPts val="500"/>
              </a:spcBef>
              <a:buFont typeface="Arial" panose="020B0604020202020204" pitchFamily="34" charset="0"/>
              <a:buNone/>
              <a:tabLst/>
              <a:defRPr sz="1800" b="0" i="0" kern="1200">
                <a:solidFill>
                  <a:schemeClr val="tx1"/>
                </a:solidFill>
                <a:latin typeface="Futura Next Book" panose="020B0502020204020303" pitchFamily="34" charset="77"/>
                <a:ea typeface="+mn-ea"/>
                <a:cs typeface="+mn-cs"/>
              </a:defRPr>
            </a:lvl3pPr>
            <a:lvl4pPr marL="1371600" indent="0" algn="ctr" defTabSz="914400" rtl="0" eaLnBrk="1" latinLnBrk="0" hangingPunct="1">
              <a:lnSpc>
                <a:spcPts val="2200"/>
              </a:lnSpc>
              <a:spcBef>
                <a:spcPts val="500"/>
              </a:spcBef>
              <a:buFont typeface="Arial" panose="020B0604020202020204" pitchFamily="34" charset="0"/>
              <a:buNone/>
              <a:tabLst/>
              <a:defRPr sz="1600" b="0" i="0" kern="1200">
                <a:solidFill>
                  <a:schemeClr val="tx1"/>
                </a:solidFill>
                <a:latin typeface="Futura Next Book" panose="020B0502020204020303" pitchFamily="34" charset="77"/>
                <a:ea typeface="+mn-ea"/>
                <a:cs typeface="+mn-cs"/>
              </a:defRPr>
            </a:lvl4pPr>
            <a:lvl5pPr marL="1828800" indent="0" algn="ctr" defTabSz="914400" rtl="0" eaLnBrk="1" latinLnBrk="0" hangingPunct="1">
              <a:lnSpc>
                <a:spcPts val="2200"/>
              </a:lnSpc>
              <a:spcBef>
                <a:spcPts val="500"/>
              </a:spcBef>
              <a:buFont typeface="Arial" panose="020B0604020202020204" pitchFamily="34" charset="0"/>
              <a:buNone/>
              <a:tabLst/>
              <a:defRPr sz="1600" b="0" i="0" kern="1200">
                <a:solidFill>
                  <a:schemeClr val="tx1"/>
                </a:solidFill>
                <a:latin typeface="Futura Next Book" panose="020B0502020204020303" pitchFamily="34"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 </a:t>
            </a:r>
            <a:r>
              <a:rPr lang="en-US" sz="1800" dirty="0"/>
              <a:t>Team- Food Lover Squad</a:t>
            </a:r>
          </a:p>
        </p:txBody>
      </p:sp>
    </p:spTree>
    <p:extLst>
      <p:ext uri="{BB962C8B-B14F-4D97-AF65-F5344CB8AC3E}">
        <p14:creationId xmlns:p14="http://schemas.microsoft.com/office/powerpoint/2010/main" val="4006891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of the MVP Product</a:t>
            </a:r>
          </a:p>
        </p:txBody>
      </p:sp>
      <p:sp>
        <p:nvSpPr>
          <p:cNvPr id="5" name="TextBox 4"/>
          <p:cNvSpPr txBox="1"/>
          <p:nvPr/>
        </p:nvSpPr>
        <p:spPr>
          <a:xfrm>
            <a:off x="368968" y="1347537"/>
            <a:ext cx="11486148" cy="5078313"/>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accent1"/>
                </a:solidFill>
              </a:rPr>
              <a:t>Transparent</a:t>
            </a:r>
            <a:r>
              <a:rPr lang="en-US" dirty="0"/>
              <a:t> information sharing with consumer at different stages of Food Process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spection </a:t>
            </a:r>
            <a:r>
              <a:rPr lang="en-US" dirty="0">
                <a:solidFill>
                  <a:schemeClr val="accent1"/>
                </a:solidFill>
              </a:rPr>
              <a:t>efficiency</a:t>
            </a:r>
            <a:r>
              <a:rPr lang="en-US" dirty="0"/>
              <a:t> with this low effort solution. This will help government agencies to inspect and issue Food certificates in faster wa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solidFill>
                  <a:schemeClr val="accent1"/>
                </a:solidFill>
              </a:rPr>
              <a:t>Accurate </a:t>
            </a:r>
            <a:r>
              <a:rPr lang="en-US" dirty="0"/>
              <a:t>and informed decisions can be taken related to Food Product safety and Qualit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solidFill>
                  <a:schemeClr val="accent1"/>
                </a:solidFill>
              </a:rPr>
              <a:t>Product History  </a:t>
            </a:r>
            <a:r>
              <a:rPr lang="en-US" dirty="0"/>
              <a:t>is easily traceable from procurement of raw material to final deliver to consumer hand by passes from various supply chain modules using Unique Batch  number stored in blockchain system.</a:t>
            </a:r>
          </a:p>
          <a:p>
            <a:endParaRPr lang="en-US" dirty="0"/>
          </a:p>
          <a:p>
            <a:pPr marL="285750" indent="-285750">
              <a:buFont typeface="Arial" panose="020B0604020202020204" pitchFamily="34" charset="0"/>
              <a:buChar char="•"/>
            </a:pPr>
            <a:r>
              <a:rPr lang="en-US" dirty="0"/>
              <a:t>Food product industry will gain trust from consumer by making complete process more transparent and traceable by connecting all different vendors and tools to single platform.</a:t>
            </a:r>
          </a:p>
          <a:p>
            <a:endParaRPr lang="en-US" dirty="0"/>
          </a:p>
          <a:p>
            <a:pPr marL="285750" indent="-285750">
              <a:buFont typeface="Arial" panose="020B0604020202020204" pitchFamily="34" charset="0"/>
              <a:buChar char="•"/>
            </a:pPr>
            <a:r>
              <a:rPr lang="en-US" dirty="0"/>
              <a:t>Best-in-class performance and scalable solution based on </a:t>
            </a:r>
            <a:r>
              <a:rPr lang="en-US" b="1" dirty="0"/>
              <a:t>Neo Blockchain</a:t>
            </a:r>
            <a:r>
              <a:rPr lang="en-US" dirty="0"/>
              <a:t> framework.</a:t>
            </a:r>
          </a:p>
          <a:p>
            <a:endParaRPr lang="en-US" dirty="0"/>
          </a:p>
          <a:p>
            <a:pPr marL="285750" indent="-285750">
              <a:buFont typeface="Arial" panose="020B0604020202020204" pitchFamily="34" charset="0"/>
              <a:buChar char="•"/>
            </a:pPr>
            <a:r>
              <a:rPr lang="en-US" dirty="0"/>
              <a:t>In nutshell, </a:t>
            </a:r>
            <a:r>
              <a:rPr lang="en-US" dirty="0">
                <a:solidFill>
                  <a:schemeClr val="accent1"/>
                </a:solidFill>
              </a:rPr>
              <a:t>win-win solution </a:t>
            </a:r>
            <a:r>
              <a:rPr lang="en-US" dirty="0"/>
              <a:t>for both consumer and Food product industry to use this cost effective and reliable solution.</a:t>
            </a:r>
          </a:p>
        </p:txBody>
      </p:sp>
    </p:spTree>
    <p:extLst>
      <p:ext uri="{BB962C8B-B14F-4D97-AF65-F5344CB8AC3E}">
        <p14:creationId xmlns:p14="http://schemas.microsoft.com/office/powerpoint/2010/main" val="229136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3E15-EAF9-1C4B-AE0A-F65E503DCBD1}"/>
              </a:ext>
            </a:extLst>
          </p:cNvPr>
          <p:cNvSpPr>
            <a:spLocks noGrp="1"/>
          </p:cNvSpPr>
          <p:nvPr>
            <p:ph type="ctrTitle"/>
          </p:nvPr>
        </p:nvSpPr>
        <p:spPr>
          <a:xfrm>
            <a:off x="626231" y="1884225"/>
            <a:ext cx="7529513" cy="2880000"/>
          </a:xfrm>
        </p:spPr>
        <p:txBody>
          <a:bodyPr/>
          <a:lstStyle/>
          <a:p>
            <a:r>
              <a:rPr lang="en-US" dirty="0"/>
              <a:t>Thank you</a:t>
            </a:r>
            <a:endParaRPr lang="en-US" sz="2000" dirty="0"/>
          </a:p>
        </p:txBody>
      </p:sp>
      <p:sp>
        <p:nvSpPr>
          <p:cNvPr id="4" name="Slide Number Placeholder 3">
            <a:extLst>
              <a:ext uri="{FF2B5EF4-FFF2-40B4-BE49-F238E27FC236}">
                <a16:creationId xmlns:a16="http://schemas.microsoft.com/office/drawing/2014/main" id="{6E0C5A93-9F76-C34F-94D8-F0E2C6172736}"/>
              </a:ext>
            </a:extLst>
          </p:cNvPr>
          <p:cNvSpPr>
            <a:spLocks noGrp="1"/>
          </p:cNvSpPr>
          <p:nvPr>
            <p:ph type="sldNum" sz="quarter" idx="10"/>
          </p:nvPr>
        </p:nvSpPr>
        <p:spPr/>
        <p:txBody>
          <a:bodyPr/>
          <a:lstStyle/>
          <a:p>
            <a:fld id="{58B792A5-9BAE-6942-BFE1-9FCDB51EA51E}" type="slidenum">
              <a:rPr lang="en-US" smtClean="0"/>
              <a:pPr/>
              <a:t>8</a:t>
            </a:fld>
            <a:endParaRPr lang="en-US" dirty="0"/>
          </a:p>
        </p:txBody>
      </p:sp>
      <p:pic>
        <p:nvPicPr>
          <p:cNvPr id="5" name="Picture 4" descr="Logo&#10;&#10;Description automatically generated">
            <a:extLst>
              <a:ext uri="{FF2B5EF4-FFF2-40B4-BE49-F238E27FC236}">
                <a16:creationId xmlns:a16="http://schemas.microsoft.com/office/drawing/2014/main" id="{C81BFA13-5BF0-41C2-AF5E-0AA862B244AA}"/>
              </a:ext>
            </a:extLst>
          </p:cNvPr>
          <p:cNvPicPr>
            <a:picLocks noChangeAspect="1"/>
          </p:cNvPicPr>
          <p:nvPr/>
        </p:nvPicPr>
        <p:blipFill>
          <a:blip r:embed="rId2"/>
          <a:stretch>
            <a:fillRect/>
          </a:stretch>
        </p:blipFill>
        <p:spPr>
          <a:xfrm>
            <a:off x="7824788" y="1214437"/>
            <a:ext cx="3900488" cy="3900488"/>
          </a:xfrm>
          <a:prstGeom prst="rect">
            <a:avLst/>
          </a:prstGeom>
        </p:spPr>
      </p:pic>
      <p:sp>
        <p:nvSpPr>
          <p:cNvPr id="8" name="Subtitle 2">
            <a:extLst>
              <a:ext uri="{FF2B5EF4-FFF2-40B4-BE49-F238E27FC236}">
                <a16:creationId xmlns:a16="http://schemas.microsoft.com/office/drawing/2014/main" id="{AA469BE6-0DFD-46F4-BC02-E0226BA4D235}"/>
              </a:ext>
            </a:extLst>
          </p:cNvPr>
          <p:cNvSpPr txBox="1">
            <a:spLocks/>
          </p:cNvSpPr>
          <p:nvPr/>
        </p:nvSpPr>
        <p:spPr>
          <a:xfrm>
            <a:off x="626231" y="696738"/>
            <a:ext cx="7020000" cy="155448"/>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1000"/>
              </a:spcBef>
              <a:buFontTx/>
              <a:buNone/>
              <a:defRPr sz="1000" b="0" i="0" kern="1200" spc="200" baseline="0">
                <a:solidFill>
                  <a:schemeClr val="tx1"/>
                </a:solidFill>
                <a:latin typeface="FUTURANEXT-MEDIUM" panose="020B0602020204020303" pitchFamily="34" charset="77"/>
                <a:ea typeface="+mn-ea"/>
                <a:cs typeface="+mn-cs"/>
              </a:defRPr>
            </a:lvl1pPr>
            <a:lvl2pPr marL="457200" indent="0" algn="ctr" defTabSz="914400" rtl="0" eaLnBrk="1" latinLnBrk="0" hangingPunct="1">
              <a:lnSpc>
                <a:spcPts val="2200"/>
              </a:lnSpc>
              <a:spcBef>
                <a:spcPts val="500"/>
              </a:spcBef>
              <a:buFont typeface="Arial" panose="020B0604020202020204" pitchFamily="34" charset="0"/>
              <a:buNone/>
              <a:tabLst/>
              <a:defRPr sz="2000" b="0" i="0" kern="1200">
                <a:solidFill>
                  <a:schemeClr val="tx1"/>
                </a:solidFill>
                <a:latin typeface="Futura Next Book" panose="020B0502020204020303" pitchFamily="34" charset="77"/>
                <a:ea typeface="+mn-ea"/>
                <a:cs typeface="+mn-cs"/>
              </a:defRPr>
            </a:lvl2pPr>
            <a:lvl3pPr marL="914400" indent="0" algn="ctr" defTabSz="914400" rtl="0" eaLnBrk="1" latinLnBrk="0" hangingPunct="1">
              <a:lnSpc>
                <a:spcPts val="2200"/>
              </a:lnSpc>
              <a:spcBef>
                <a:spcPts val="500"/>
              </a:spcBef>
              <a:buFont typeface="Arial" panose="020B0604020202020204" pitchFamily="34" charset="0"/>
              <a:buNone/>
              <a:tabLst/>
              <a:defRPr sz="1800" b="0" i="0" kern="1200">
                <a:solidFill>
                  <a:schemeClr val="tx1"/>
                </a:solidFill>
                <a:latin typeface="Futura Next Book" panose="020B0502020204020303" pitchFamily="34" charset="77"/>
                <a:ea typeface="+mn-ea"/>
                <a:cs typeface="+mn-cs"/>
              </a:defRPr>
            </a:lvl3pPr>
            <a:lvl4pPr marL="1371600" indent="0" algn="ctr" defTabSz="914400" rtl="0" eaLnBrk="1" latinLnBrk="0" hangingPunct="1">
              <a:lnSpc>
                <a:spcPts val="2200"/>
              </a:lnSpc>
              <a:spcBef>
                <a:spcPts val="500"/>
              </a:spcBef>
              <a:buFont typeface="Arial" panose="020B0604020202020204" pitchFamily="34" charset="0"/>
              <a:buNone/>
              <a:tabLst/>
              <a:defRPr sz="1600" b="0" i="0" kern="1200">
                <a:solidFill>
                  <a:schemeClr val="tx1"/>
                </a:solidFill>
                <a:latin typeface="Futura Next Book" panose="020B0502020204020303" pitchFamily="34" charset="77"/>
                <a:ea typeface="+mn-ea"/>
                <a:cs typeface="+mn-cs"/>
              </a:defRPr>
            </a:lvl4pPr>
            <a:lvl5pPr marL="1828800" indent="0" algn="ctr" defTabSz="914400" rtl="0" eaLnBrk="1" latinLnBrk="0" hangingPunct="1">
              <a:lnSpc>
                <a:spcPts val="2200"/>
              </a:lnSpc>
              <a:spcBef>
                <a:spcPts val="500"/>
              </a:spcBef>
              <a:buFont typeface="Arial" panose="020B0604020202020204" pitchFamily="34" charset="0"/>
              <a:buNone/>
              <a:tabLst/>
              <a:defRPr sz="1600" b="0" i="0" kern="1200">
                <a:solidFill>
                  <a:schemeClr val="tx1"/>
                </a:solidFill>
                <a:latin typeface="Futura Next Book" panose="020B0502020204020303" pitchFamily="34"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 </a:t>
            </a:r>
            <a:r>
              <a:rPr lang="en-US" sz="1800" dirty="0"/>
              <a:t>Team- Food Lover Squad</a:t>
            </a:r>
          </a:p>
        </p:txBody>
      </p:sp>
    </p:spTree>
    <p:extLst>
      <p:ext uri="{BB962C8B-B14F-4D97-AF65-F5344CB8AC3E}">
        <p14:creationId xmlns:p14="http://schemas.microsoft.com/office/powerpoint/2010/main" val="40594347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11.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Triangle_3"/>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infinite-time_POWER_USER_SEPARATOR_ICONS_unlimited_POWER_USER_SEPARATOR_ICONS_time-forever_POWER_USER_SEPARATOR_ICONS_time_POWER_USER_SEPARATOR_ICONS_never-ending_POWER_USER_SEPARATOR_ICONS_infinity_POWER_USER_SEPARATOR_ICONS_infinite_POWER_USER_SEPARATOR_ICONS_forever_POWER_USER_SEPARATOR_ICONS_clock_POWER_USER_SEPARATOR_ICONS_unlimited-tim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light bulb*electricity*idea*innovation*lamp*light*bright*people*sharing*guiding*explaining*clarifying*help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Brand Mark">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genda">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ivid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Quote">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Voice">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Back 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186</TotalTime>
  <Words>957</Words>
  <Application>Microsoft Office PowerPoint</Application>
  <PresentationFormat>Widescreen</PresentationFormat>
  <Paragraphs>177</Paragraphs>
  <Slides>8</Slides>
  <Notes>1</Notes>
  <HiddenSlides>0</HiddenSlides>
  <MMClips>0</MMClips>
  <ScaleCrop>false</ScaleCrop>
  <HeadingPairs>
    <vt:vector size="6" baseType="variant">
      <vt:variant>
        <vt:lpstr>Fonts Used</vt:lpstr>
      </vt:variant>
      <vt:variant>
        <vt:i4>11</vt:i4>
      </vt:variant>
      <vt:variant>
        <vt:lpstr>Theme</vt:lpstr>
      </vt:variant>
      <vt:variant>
        <vt:i4>8</vt:i4>
      </vt:variant>
      <vt:variant>
        <vt:lpstr>Slide Titles</vt:lpstr>
      </vt:variant>
      <vt:variant>
        <vt:i4>8</vt:i4>
      </vt:variant>
    </vt:vector>
  </HeadingPairs>
  <TitlesOfParts>
    <vt:vector size="27" baseType="lpstr">
      <vt:lpstr>Arial</vt:lpstr>
      <vt:lpstr>Arial</vt:lpstr>
      <vt:lpstr>Calibri</vt:lpstr>
      <vt:lpstr>Futura Next Book</vt:lpstr>
      <vt:lpstr>Futura Next DemiBold</vt:lpstr>
      <vt:lpstr>Futura Next Medium</vt:lpstr>
      <vt:lpstr>FUTURANEXT-MEDIUM</vt:lpstr>
      <vt:lpstr>FUTURANEXT-MEDIUM</vt:lpstr>
      <vt:lpstr>Minion Pro</vt:lpstr>
      <vt:lpstr>Segoe UI</vt:lpstr>
      <vt:lpstr>Segoe UI Black</vt:lpstr>
      <vt:lpstr>Brand Mark</vt:lpstr>
      <vt:lpstr>Cover</vt:lpstr>
      <vt:lpstr>Agenda</vt:lpstr>
      <vt:lpstr>Divider</vt:lpstr>
      <vt:lpstr>Quote</vt:lpstr>
      <vt:lpstr>Voice</vt:lpstr>
      <vt:lpstr>Content</vt:lpstr>
      <vt:lpstr>Back Cover</vt:lpstr>
      <vt:lpstr>Food product traceability &amp; transparency system Powered by Neo Blockchain, IoT, AI and cloud technologies</vt:lpstr>
      <vt:lpstr>PowerPoint Presentation</vt:lpstr>
      <vt:lpstr>Use case: Food product industry concerns – Quality, Safety and loosing consumer’s trust due to lack of traceability and transparency in current system   </vt:lpstr>
      <vt:lpstr>Blockchain and IoT devices-based system in Food Product Industry to improve traceability and transparency</vt:lpstr>
      <vt:lpstr>High Level Architecture Flow Diagram</vt:lpstr>
      <vt:lpstr>Live Demo </vt:lpstr>
      <vt:lpstr>Benefits of the MVP Produc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t Rawat</dc:creator>
  <cp:lastModifiedBy>Piyush Jain 4</cp:lastModifiedBy>
  <cp:revision>633</cp:revision>
  <dcterms:created xsi:type="dcterms:W3CDTF">2020-07-16T13:33:34Z</dcterms:created>
  <dcterms:modified xsi:type="dcterms:W3CDTF">2021-07-11T10:3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Jive_LatestUserAccountName">
    <vt:lpwstr>ashparak</vt:lpwstr>
  </property>
  <property fmtid="{D5CDD505-2E9C-101B-9397-08002B2CF9AE}" pid="3" name="Jive_VersionGuid">
    <vt:lpwstr>9cdcd8db-4b4d-495c-b496-3ffbc2790d58</vt:lpwstr>
  </property>
  <property fmtid="{D5CDD505-2E9C-101B-9397-08002B2CF9AE}" pid="4" name="Offisync_UniqueId">
    <vt:lpwstr>178493</vt:lpwstr>
  </property>
  <property fmtid="{D5CDD505-2E9C-101B-9397-08002B2CF9AE}" pid="5" name="Offisync_ProviderInitializationData">
    <vt:lpwstr>https://vox.publicissapient.com</vt:lpwstr>
  </property>
  <property fmtid="{D5CDD505-2E9C-101B-9397-08002B2CF9AE}" pid="6" name="Offisync_ServerID">
    <vt:lpwstr>2a760b3e-54a5-418b-9dd9-555cd32dea45</vt:lpwstr>
  </property>
  <property fmtid="{D5CDD505-2E9C-101B-9397-08002B2CF9AE}" pid="7" name="Offisync_UpdateToken">
    <vt:lpwstr>3</vt:lpwstr>
  </property>
</Properties>
</file>